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94" r:id="rId2"/>
    <p:sldId id="306" r:id="rId3"/>
    <p:sldId id="311" r:id="rId4"/>
    <p:sldId id="312" r:id="rId5"/>
    <p:sldId id="313" r:id="rId6"/>
    <p:sldId id="302" r:id="rId7"/>
    <p:sldId id="304" r:id="rId8"/>
    <p:sldId id="303" r:id="rId9"/>
    <p:sldId id="305" r:id="rId10"/>
    <p:sldId id="275" r:id="rId11"/>
    <p:sldId id="309" r:id="rId12"/>
  </p:sldIdLst>
  <p:sldSz cx="9144000" cy="6858000" type="screen4x3"/>
  <p:notesSz cx="6761163" cy="99425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72" autoAdjust="0"/>
    <p:restoredTop sz="94660"/>
  </p:normalViewPr>
  <p:slideViewPr>
    <p:cSldViewPr>
      <p:cViewPr varScale="1">
        <p:scale>
          <a:sx n="113" d="100"/>
          <a:sy n="113" d="100"/>
        </p:scale>
        <p:origin x="-978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image" Target="../media/image6.jpeg"/><Relationship Id="rId4" Type="http://schemas.openxmlformats.org/officeDocument/2006/relationships/image" Target="../media/image9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image" Target="../media/image6.jpeg"/><Relationship Id="rId4" Type="http://schemas.openxmlformats.org/officeDocument/2006/relationships/image" Target="../media/image9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5350399-8ECA-42E1-965B-B0F661B6401D}" type="doc">
      <dgm:prSet loTypeId="urn:microsoft.com/office/officeart/2008/layout/PictureStrip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D1BE360-643D-4C0F-8E5F-04A4B240868E}">
      <dgm:prSet phldrT="[Текст]" custT="1"/>
      <dgm:spPr/>
      <dgm:t>
        <a:bodyPr/>
        <a:lstStyle/>
        <a:p>
          <a:r>
            <a:rPr lang="ru-RU" sz="1800" b="1" i="1" dirty="0">
              <a:latin typeface="Times New Roman" panose="02020603050405020304" pitchFamily="18" charset="0"/>
              <a:cs typeface="Times New Roman" panose="02020603050405020304" pitchFamily="18" charset="0"/>
            </a:rPr>
            <a:t>Руководитель </a:t>
          </a:r>
          <a:r>
            <a:rPr lang="ru-RU" sz="1800" b="1" i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роекта </a:t>
          </a:r>
          <a:r>
            <a:rPr lang="ru-RU" sz="1800" dirty="0" smtClean="0">
              <a:solidFill>
                <a:srgbClr val="00000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rPr>
            <a:t>– Серикова </a:t>
          </a:r>
          <a:r>
            <a:rPr lang="ru-RU" sz="1800" dirty="0">
              <a:solidFill>
                <a:srgbClr val="00000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rPr>
            <a:t>Зинаида </a:t>
          </a:r>
          <a:r>
            <a:rPr lang="ru-RU" sz="1800" dirty="0" smtClean="0">
              <a:solidFill>
                <a:srgbClr val="00000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rPr>
            <a:t>Сергеевна, </a:t>
          </a:r>
        </a:p>
        <a:p>
          <a:r>
            <a:rPr lang="ru-RU" sz="1800" dirty="0" smtClean="0">
              <a:solidFill>
                <a:srgbClr val="00000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rPr>
            <a:t>заведующая отделением</a:t>
          </a:r>
          <a:endParaRPr lang="ru-RU" sz="1600" b="1" i="1" dirty="0">
            <a:solidFill>
              <a:srgbClr val="000000"/>
            </a:solidFill>
            <a:effectLst/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r>
            <a:rPr lang="ru-RU" sz="1800" b="1" i="1" dirty="0">
              <a:solidFill>
                <a:srgbClr val="000000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rPr>
            <a:t>Команда </a:t>
          </a:r>
          <a:r>
            <a:rPr lang="ru-RU" sz="1800" b="1" i="1" dirty="0" smtClean="0">
              <a:solidFill>
                <a:srgbClr val="000000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rPr>
            <a:t>проекта </a:t>
          </a:r>
          <a:r>
            <a:rPr lang="ru-RU" sz="1800" dirty="0" smtClean="0">
              <a:solidFill>
                <a:srgbClr val="00000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rPr>
            <a:t>– </a:t>
          </a:r>
          <a:endParaRPr lang="ru-RU" sz="1800" b="1" i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833C6C3-45FB-4778-95AA-66CBBA3433C2}" type="parTrans" cxnId="{1B81A8CD-3791-4157-A865-B86D9BF2A2EC}">
      <dgm:prSet/>
      <dgm:spPr/>
      <dgm:t>
        <a:bodyPr/>
        <a:lstStyle/>
        <a:p>
          <a:endParaRPr lang="ru-RU"/>
        </a:p>
      </dgm:t>
    </dgm:pt>
    <dgm:pt modelId="{235349D0-7670-498B-86E6-3F7343FE19AE}" type="sibTrans" cxnId="{1B81A8CD-3791-4157-A865-B86D9BF2A2EC}">
      <dgm:prSet/>
      <dgm:spPr/>
      <dgm:t>
        <a:bodyPr/>
        <a:lstStyle/>
        <a:p>
          <a:endParaRPr lang="ru-RU"/>
        </a:p>
      </dgm:t>
    </dgm:pt>
    <dgm:pt modelId="{5DCCDAB7-CA93-4D95-92F4-175A2DEE6FF3}">
      <dgm:prSet phldrT="[Текст]" custT="1"/>
      <dgm:spPr/>
      <dgm:t>
        <a:bodyPr/>
        <a:lstStyle/>
        <a:p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Трубецкая Галина </a:t>
          </a:r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лександровна, заведующая </a:t>
          </a: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учебной частью </a:t>
          </a:r>
        </a:p>
      </dgm:t>
    </dgm:pt>
    <dgm:pt modelId="{5EB0D21F-E4AA-48FF-9AD8-3182506A49D9}" type="parTrans" cxnId="{083F8239-57F2-4D2A-9B33-2CEB29719192}">
      <dgm:prSet/>
      <dgm:spPr/>
      <dgm:t>
        <a:bodyPr/>
        <a:lstStyle/>
        <a:p>
          <a:endParaRPr lang="ru-RU"/>
        </a:p>
      </dgm:t>
    </dgm:pt>
    <dgm:pt modelId="{CCFCAD4B-E94A-4739-A8F4-3E18D81B0188}" type="sibTrans" cxnId="{083F8239-57F2-4D2A-9B33-2CEB29719192}">
      <dgm:prSet/>
      <dgm:spPr/>
      <dgm:t>
        <a:bodyPr/>
        <a:lstStyle/>
        <a:p>
          <a:endParaRPr lang="ru-RU"/>
        </a:p>
      </dgm:t>
    </dgm:pt>
    <dgm:pt modelId="{11839598-4EE6-4818-AB3A-A04BB9211E43}">
      <dgm:prSet phldrT="[Текст]" custT="1"/>
      <dgm:spPr/>
      <dgm:t>
        <a:bodyPr/>
        <a:lstStyle/>
        <a:p>
          <a:r>
            <a:rPr lang="ru-RU" sz="18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Салыкаева</a:t>
          </a: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 Фаина </a:t>
          </a:r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Евгеньевна, </a:t>
          </a: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методист</a:t>
          </a:r>
        </a:p>
      </dgm:t>
    </dgm:pt>
    <dgm:pt modelId="{5EA9B98C-63E0-49E7-8AA5-90EC55B35FA7}" type="parTrans" cxnId="{75BF91DA-5AE0-4A7E-86DB-48A0D94DFB22}">
      <dgm:prSet/>
      <dgm:spPr/>
      <dgm:t>
        <a:bodyPr/>
        <a:lstStyle/>
        <a:p>
          <a:endParaRPr lang="ru-RU"/>
        </a:p>
      </dgm:t>
    </dgm:pt>
    <dgm:pt modelId="{B90DB03F-D1FD-4173-90EF-6B063BA64223}" type="sibTrans" cxnId="{75BF91DA-5AE0-4A7E-86DB-48A0D94DFB22}">
      <dgm:prSet/>
      <dgm:spPr/>
      <dgm:t>
        <a:bodyPr/>
        <a:lstStyle/>
        <a:p>
          <a:endParaRPr lang="ru-RU"/>
        </a:p>
      </dgm:t>
    </dgm:pt>
    <dgm:pt modelId="{E22C7F96-838F-4F0C-9264-8CF94D9609E7}">
      <dgm:prSet custT="1"/>
      <dgm:spPr/>
      <dgm:t>
        <a:bodyPr/>
        <a:lstStyle/>
        <a:p>
          <a:r>
            <a:rPr lang="ru-RU" sz="1800" b="0" dirty="0">
              <a:latin typeface="Times New Roman" panose="02020603050405020304" pitchFamily="18" charset="0"/>
              <a:cs typeface="Times New Roman" panose="02020603050405020304" pitchFamily="18" charset="0"/>
            </a:rPr>
            <a:t>Быков Константин </a:t>
          </a:r>
          <a:r>
            <a:rPr lang="ru-RU" sz="1800" b="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тонович, </a:t>
          </a:r>
          <a:r>
            <a:rPr lang="ru-RU" sz="1800" b="0" dirty="0">
              <a:latin typeface="Times New Roman" panose="02020603050405020304" pitchFamily="18" charset="0"/>
              <a:cs typeface="Times New Roman" panose="02020603050405020304" pitchFamily="18" charset="0"/>
            </a:rPr>
            <a:t>руководитель практики</a:t>
          </a:r>
        </a:p>
      </dgm:t>
    </dgm:pt>
    <dgm:pt modelId="{309CCEFE-0DF9-4E5A-858D-C674A8DA9719}" type="parTrans" cxnId="{E7E81107-48F8-4340-8C10-78DE4B6E0FFF}">
      <dgm:prSet/>
      <dgm:spPr/>
      <dgm:t>
        <a:bodyPr/>
        <a:lstStyle/>
        <a:p>
          <a:endParaRPr lang="ru-RU"/>
        </a:p>
      </dgm:t>
    </dgm:pt>
    <dgm:pt modelId="{2CCFD552-56A4-4DF6-80ED-F1E0E748E97C}" type="sibTrans" cxnId="{E7E81107-48F8-4340-8C10-78DE4B6E0FFF}">
      <dgm:prSet/>
      <dgm:spPr/>
      <dgm:t>
        <a:bodyPr/>
        <a:lstStyle/>
        <a:p>
          <a:endParaRPr lang="ru-RU"/>
        </a:p>
      </dgm:t>
    </dgm:pt>
    <dgm:pt modelId="{576EA3F8-B7BE-4096-86DA-DF243622D9D1}" type="pres">
      <dgm:prSet presAssocID="{15350399-8ECA-42E1-965B-B0F661B6401D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BC7701F-CE6D-49D0-A2DB-10C2BD5FE564}" type="pres">
      <dgm:prSet presAssocID="{CD1BE360-643D-4C0F-8E5F-04A4B240868E}" presName="composite" presStyleCnt="0"/>
      <dgm:spPr/>
    </dgm:pt>
    <dgm:pt modelId="{F743B5A7-427E-499E-B9AC-3142196392B2}" type="pres">
      <dgm:prSet presAssocID="{CD1BE360-643D-4C0F-8E5F-04A4B240868E}" presName="rect1" presStyleLbl="trAlignAcc1" presStyleIdx="0" presStyleCnt="4" custScaleX="370918" custScaleY="222344" custLinFactNeighborX="15126" custLinFactNeighborY="-1446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8E0C47F-4B5F-427B-9364-EC9D273BC5A9}" type="pres">
      <dgm:prSet presAssocID="{CD1BE360-643D-4C0F-8E5F-04A4B240868E}" presName="rect2" presStyleLbl="fgImgPlace1" presStyleIdx="0" presStyleCnt="4" custScaleX="157549" custScaleY="162745" custLinFactX="463992" custLinFactNeighborX="500000" custLinFactNeighborY="-7368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scene3d>
          <a:camera prst="orthographicFront"/>
          <a:lightRig rig="threePt" dir="t"/>
        </a:scene3d>
        <a:sp3d>
          <a:bevelT prst="relaxedInset"/>
        </a:sp3d>
      </dgm:spPr>
    </dgm:pt>
    <dgm:pt modelId="{D850CCE4-E07B-4AE9-8E2A-16B0BA5A8AD6}" type="pres">
      <dgm:prSet presAssocID="{235349D0-7670-498B-86E6-3F7343FE19AE}" presName="sibTrans" presStyleCnt="0"/>
      <dgm:spPr/>
    </dgm:pt>
    <dgm:pt modelId="{3B2AF3AB-EA3B-4811-8238-90BE68BAA326}" type="pres">
      <dgm:prSet presAssocID="{5DCCDAB7-CA93-4D95-92F4-175A2DEE6FF3}" presName="composite" presStyleCnt="0"/>
      <dgm:spPr/>
    </dgm:pt>
    <dgm:pt modelId="{A2E57868-D3A0-4FD0-8D45-CE7BDE1371C8}" type="pres">
      <dgm:prSet presAssocID="{5DCCDAB7-CA93-4D95-92F4-175A2DEE6FF3}" presName="rect1" presStyleLbl="trAlignAcc1" presStyleIdx="1" presStyleCnt="4" custScaleX="314142" custScaleY="132298" custLinFactY="16694" custLinFactNeighborX="-17509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4B548B7-C666-4667-839B-66CC766381DF}" type="pres">
      <dgm:prSet presAssocID="{5DCCDAB7-CA93-4D95-92F4-175A2DEE6FF3}" presName="rect2" presStyleLbl="fgImgPlace1" presStyleIdx="1" presStyleCnt="4" custScaleX="165232" custScaleY="147158" custLinFactX="464029" custLinFactNeighborX="500000" custLinFactNeighborY="-46634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1000" r="-21000"/>
          </a:stretch>
        </a:blipFill>
        <a:scene3d>
          <a:camera prst="orthographicFront"/>
          <a:lightRig rig="threePt" dir="t"/>
        </a:scene3d>
        <a:sp3d>
          <a:bevelT prst="relaxedInset"/>
        </a:sp3d>
      </dgm:spPr>
    </dgm:pt>
    <dgm:pt modelId="{978D7151-C7BC-4E85-8AF3-083E8C700C87}" type="pres">
      <dgm:prSet presAssocID="{CCFCAD4B-E94A-4739-A8F4-3E18D81B0188}" presName="sibTrans" presStyleCnt="0"/>
      <dgm:spPr/>
    </dgm:pt>
    <dgm:pt modelId="{4EB90E54-2B9C-4F7F-BC9E-5C78FE513BED}" type="pres">
      <dgm:prSet presAssocID="{E22C7F96-838F-4F0C-9264-8CF94D9609E7}" presName="composite" presStyleCnt="0"/>
      <dgm:spPr/>
    </dgm:pt>
    <dgm:pt modelId="{D8B49FE3-DDA0-45A4-A4EB-D87E8C9A16CE}" type="pres">
      <dgm:prSet presAssocID="{E22C7F96-838F-4F0C-9264-8CF94D9609E7}" presName="rect1" presStyleLbl="trAlignAcc1" presStyleIdx="2" presStyleCnt="4" custScaleX="320844" custScaleY="122007" custLinFactY="-89582" custLinFactNeighborX="-12799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446A03-3582-4828-A647-30E81470BF77}" type="pres">
      <dgm:prSet presAssocID="{E22C7F96-838F-4F0C-9264-8CF94D9609E7}" presName="rect2" presStyleLbl="fgImgPlace1" presStyleIdx="2" presStyleCnt="4" custScaleX="161563" custScaleY="129863" custLinFactX="462194" custLinFactY="2418" custLinFactNeighborX="500000" custLinFactNeighborY="100000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6000" r="-16000"/>
          </a:stretch>
        </a:blipFill>
        <a:scene3d>
          <a:camera prst="orthographicFront"/>
          <a:lightRig rig="threePt" dir="t"/>
        </a:scene3d>
        <a:sp3d>
          <a:bevelT prst="relaxedInset"/>
        </a:sp3d>
      </dgm:spPr>
    </dgm:pt>
    <dgm:pt modelId="{94B2DAF2-B42A-4CC5-9F3E-9E2ED0F107A0}" type="pres">
      <dgm:prSet presAssocID="{2CCFD552-56A4-4DF6-80ED-F1E0E748E97C}" presName="sibTrans" presStyleCnt="0"/>
      <dgm:spPr/>
    </dgm:pt>
    <dgm:pt modelId="{90EBEC76-049D-43A5-ABA6-A1E7D2417D9F}" type="pres">
      <dgm:prSet presAssocID="{11839598-4EE6-4818-AB3A-A04BB9211E43}" presName="composite" presStyleCnt="0"/>
      <dgm:spPr/>
    </dgm:pt>
    <dgm:pt modelId="{6EAAE699-F50B-462C-989B-B201A0A9347D}" type="pres">
      <dgm:prSet presAssocID="{11839598-4EE6-4818-AB3A-A04BB9211E43}" presName="rect1" presStyleLbl="trAlignAcc1" presStyleIdx="3" presStyleCnt="4" custScaleX="317932" custLinFactNeighborX="-14292" custLinFactNeighborY="-5007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2C2EC54-81FE-4493-8A78-96E85D43BB37}" type="pres">
      <dgm:prSet presAssocID="{11839598-4EE6-4818-AB3A-A04BB9211E43}" presName="rect2" presStyleLbl="fgImgPlace1" presStyleIdx="3" presStyleCnt="4" custScaleX="157722" custScaleY="135336" custLinFactX="460274" custLinFactY="-91036" custLinFactNeighborX="500000" custLinFactNeighborY="-100000"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3000" r="-13000"/>
          </a:stretch>
        </a:blipFill>
        <a:scene3d>
          <a:camera prst="orthographicFront"/>
          <a:lightRig rig="threePt" dir="t"/>
        </a:scene3d>
        <a:sp3d>
          <a:bevelT prst="relaxedInset"/>
        </a:sp3d>
      </dgm:spPr>
    </dgm:pt>
  </dgm:ptLst>
  <dgm:cxnLst>
    <dgm:cxn modelId="{F8CDB6C3-5943-40AC-A134-8BA3E32C13F7}" type="presOf" srcId="{11839598-4EE6-4818-AB3A-A04BB9211E43}" destId="{6EAAE699-F50B-462C-989B-B201A0A9347D}" srcOrd="0" destOrd="0" presId="urn:microsoft.com/office/officeart/2008/layout/PictureStrips"/>
    <dgm:cxn modelId="{2C92F6D9-D682-4D3B-A781-971477B7DA6B}" type="presOf" srcId="{5DCCDAB7-CA93-4D95-92F4-175A2DEE6FF3}" destId="{A2E57868-D3A0-4FD0-8D45-CE7BDE1371C8}" srcOrd="0" destOrd="0" presId="urn:microsoft.com/office/officeart/2008/layout/PictureStrips"/>
    <dgm:cxn modelId="{7D241601-ED5F-4DAE-A075-EF8274896919}" type="presOf" srcId="{E22C7F96-838F-4F0C-9264-8CF94D9609E7}" destId="{D8B49FE3-DDA0-45A4-A4EB-D87E8C9A16CE}" srcOrd="0" destOrd="0" presId="urn:microsoft.com/office/officeart/2008/layout/PictureStrips"/>
    <dgm:cxn modelId="{AD317869-B8CE-4909-A695-3C1C7550F5AC}" type="presOf" srcId="{CD1BE360-643D-4C0F-8E5F-04A4B240868E}" destId="{F743B5A7-427E-499E-B9AC-3142196392B2}" srcOrd="0" destOrd="0" presId="urn:microsoft.com/office/officeart/2008/layout/PictureStrips"/>
    <dgm:cxn modelId="{75BF91DA-5AE0-4A7E-86DB-48A0D94DFB22}" srcId="{15350399-8ECA-42E1-965B-B0F661B6401D}" destId="{11839598-4EE6-4818-AB3A-A04BB9211E43}" srcOrd="3" destOrd="0" parTransId="{5EA9B98C-63E0-49E7-8AA5-90EC55B35FA7}" sibTransId="{B90DB03F-D1FD-4173-90EF-6B063BA64223}"/>
    <dgm:cxn modelId="{4B52FD6F-63D6-41E9-B736-C99999C6FC25}" type="presOf" srcId="{15350399-8ECA-42E1-965B-B0F661B6401D}" destId="{576EA3F8-B7BE-4096-86DA-DF243622D9D1}" srcOrd="0" destOrd="0" presId="urn:microsoft.com/office/officeart/2008/layout/PictureStrips"/>
    <dgm:cxn modelId="{083F8239-57F2-4D2A-9B33-2CEB29719192}" srcId="{15350399-8ECA-42E1-965B-B0F661B6401D}" destId="{5DCCDAB7-CA93-4D95-92F4-175A2DEE6FF3}" srcOrd="1" destOrd="0" parTransId="{5EB0D21F-E4AA-48FF-9AD8-3182506A49D9}" sibTransId="{CCFCAD4B-E94A-4739-A8F4-3E18D81B0188}"/>
    <dgm:cxn modelId="{1B81A8CD-3791-4157-A865-B86D9BF2A2EC}" srcId="{15350399-8ECA-42E1-965B-B0F661B6401D}" destId="{CD1BE360-643D-4C0F-8E5F-04A4B240868E}" srcOrd="0" destOrd="0" parTransId="{7833C6C3-45FB-4778-95AA-66CBBA3433C2}" sibTransId="{235349D0-7670-498B-86E6-3F7343FE19AE}"/>
    <dgm:cxn modelId="{E7E81107-48F8-4340-8C10-78DE4B6E0FFF}" srcId="{15350399-8ECA-42E1-965B-B0F661B6401D}" destId="{E22C7F96-838F-4F0C-9264-8CF94D9609E7}" srcOrd="2" destOrd="0" parTransId="{309CCEFE-0DF9-4E5A-858D-C674A8DA9719}" sibTransId="{2CCFD552-56A4-4DF6-80ED-F1E0E748E97C}"/>
    <dgm:cxn modelId="{9501BE11-17BC-4B33-A0F4-83D7F565193B}" type="presParOf" srcId="{576EA3F8-B7BE-4096-86DA-DF243622D9D1}" destId="{CBC7701F-CE6D-49D0-A2DB-10C2BD5FE564}" srcOrd="0" destOrd="0" presId="urn:microsoft.com/office/officeart/2008/layout/PictureStrips"/>
    <dgm:cxn modelId="{F0476291-2E03-4A47-941E-4F6787F73BC8}" type="presParOf" srcId="{CBC7701F-CE6D-49D0-A2DB-10C2BD5FE564}" destId="{F743B5A7-427E-499E-B9AC-3142196392B2}" srcOrd="0" destOrd="0" presId="urn:microsoft.com/office/officeart/2008/layout/PictureStrips"/>
    <dgm:cxn modelId="{79169BCE-2891-463A-BC4A-E352706555C8}" type="presParOf" srcId="{CBC7701F-CE6D-49D0-A2DB-10C2BD5FE564}" destId="{88E0C47F-4B5F-427B-9364-EC9D273BC5A9}" srcOrd="1" destOrd="0" presId="urn:microsoft.com/office/officeart/2008/layout/PictureStrips"/>
    <dgm:cxn modelId="{DA26EE0F-55C0-420E-8E1D-74B33292D9FE}" type="presParOf" srcId="{576EA3F8-B7BE-4096-86DA-DF243622D9D1}" destId="{D850CCE4-E07B-4AE9-8E2A-16B0BA5A8AD6}" srcOrd="1" destOrd="0" presId="urn:microsoft.com/office/officeart/2008/layout/PictureStrips"/>
    <dgm:cxn modelId="{FFC9E2F1-A11A-4E26-AE2D-B4EF8874813C}" type="presParOf" srcId="{576EA3F8-B7BE-4096-86DA-DF243622D9D1}" destId="{3B2AF3AB-EA3B-4811-8238-90BE68BAA326}" srcOrd="2" destOrd="0" presId="urn:microsoft.com/office/officeart/2008/layout/PictureStrips"/>
    <dgm:cxn modelId="{92CF9D2D-748E-4409-AD1A-92DB2C4DFBF4}" type="presParOf" srcId="{3B2AF3AB-EA3B-4811-8238-90BE68BAA326}" destId="{A2E57868-D3A0-4FD0-8D45-CE7BDE1371C8}" srcOrd="0" destOrd="0" presId="urn:microsoft.com/office/officeart/2008/layout/PictureStrips"/>
    <dgm:cxn modelId="{22D39E09-350A-405A-893A-A0B5F5EA58C9}" type="presParOf" srcId="{3B2AF3AB-EA3B-4811-8238-90BE68BAA326}" destId="{14B548B7-C666-4667-839B-66CC766381DF}" srcOrd="1" destOrd="0" presId="urn:microsoft.com/office/officeart/2008/layout/PictureStrips"/>
    <dgm:cxn modelId="{C5B56845-C9BF-4D1B-9FC6-851B9C2187BF}" type="presParOf" srcId="{576EA3F8-B7BE-4096-86DA-DF243622D9D1}" destId="{978D7151-C7BC-4E85-8AF3-083E8C700C87}" srcOrd="3" destOrd="0" presId="urn:microsoft.com/office/officeart/2008/layout/PictureStrips"/>
    <dgm:cxn modelId="{E26986D1-6FF3-4768-B064-0B4FBC7E0F0C}" type="presParOf" srcId="{576EA3F8-B7BE-4096-86DA-DF243622D9D1}" destId="{4EB90E54-2B9C-4F7F-BC9E-5C78FE513BED}" srcOrd="4" destOrd="0" presId="urn:microsoft.com/office/officeart/2008/layout/PictureStrips"/>
    <dgm:cxn modelId="{A909393D-742C-4062-B6DD-0BE4C419AFDA}" type="presParOf" srcId="{4EB90E54-2B9C-4F7F-BC9E-5C78FE513BED}" destId="{D8B49FE3-DDA0-45A4-A4EB-D87E8C9A16CE}" srcOrd="0" destOrd="0" presId="urn:microsoft.com/office/officeart/2008/layout/PictureStrips"/>
    <dgm:cxn modelId="{E2A2988F-5414-421A-AC24-2250AE8AD981}" type="presParOf" srcId="{4EB90E54-2B9C-4F7F-BC9E-5C78FE513BED}" destId="{28446A03-3582-4828-A647-30E81470BF77}" srcOrd="1" destOrd="0" presId="urn:microsoft.com/office/officeart/2008/layout/PictureStrips"/>
    <dgm:cxn modelId="{0A7AA531-0338-469D-B6CA-67F700993CDB}" type="presParOf" srcId="{576EA3F8-B7BE-4096-86DA-DF243622D9D1}" destId="{94B2DAF2-B42A-4CC5-9F3E-9E2ED0F107A0}" srcOrd="5" destOrd="0" presId="urn:microsoft.com/office/officeart/2008/layout/PictureStrips"/>
    <dgm:cxn modelId="{270423AF-7ADE-4BEF-AB0B-74E290AE30ED}" type="presParOf" srcId="{576EA3F8-B7BE-4096-86DA-DF243622D9D1}" destId="{90EBEC76-049D-43A5-ABA6-A1E7D2417D9F}" srcOrd="6" destOrd="0" presId="urn:microsoft.com/office/officeart/2008/layout/PictureStrips"/>
    <dgm:cxn modelId="{AFE66F73-88FA-486B-A172-A62FFF538768}" type="presParOf" srcId="{90EBEC76-049D-43A5-ABA6-A1E7D2417D9F}" destId="{6EAAE699-F50B-462C-989B-B201A0A9347D}" srcOrd="0" destOrd="0" presId="urn:microsoft.com/office/officeart/2008/layout/PictureStrips"/>
    <dgm:cxn modelId="{C8BA08E1-09BA-403A-AF02-C1A724C3B442}" type="presParOf" srcId="{90EBEC76-049D-43A5-ABA6-A1E7D2417D9F}" destId="{02C2EC54-81FE-4493-8A78-96E85D43BB37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16" custLinFactNeighborY="36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02952A2-E36A-4C36-9F3E-BBB3A16BEAFF}" type="presOf" srcId="{CBB2EDB4-08BF-49DB-9282-C363CE23E3D0}" destId="{7099C5AD-A666-455F-9144-31509FAE35FB}" srcOrd="0" destOrd="0" presId="urn:microsoft.com/office/officeart/2005/8/layout/pyramid1"/>
    <dgm:cxn modelId="{792CBD91-D1FA-4645-B0E6-1E344FDF5B5F}" type="presOf" srcId="{F014B99B-BC0F-4D51-AA35-03139CBC5BDF}" destId="{158BBE6D-1C8E-4142-827F-B1B32D20364B}" srcOrd="1" destOrd="0" presId="urn:microsoft.com/office/officeart/2005/8/layout/pyramid1"/>
    <dgm:cxn modelId="{CB6F3BE7-F153-4CED-8270-72A0F84A15F2}" type="presOf" srcId="{CBB2EDB4-08BF-49DB-9282-C363CE23E3D0}" destId="{8064A9E2-4365-4891-A563-4210D9FE6047}" srcOrd="1" destOrd="0" presId="urn:microsoft.com/office/officeart/2005/8/layout/pyramid1"/>
    <dgm:cxn modelId="{EBAC2FB6-06C0-4A9E-9E1C-FA45C82478E1}" type="presOf" srcId="{F014B99B-BC0F-4D51-AA35-03139CBC5BDF}" destId="{47753778-DDCD-4F66-8671-0963E55AC1AB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684A2119-F004-4EA4-91AB-934B6F8401A9}" type="presOf" srcId="{8380A261-4409-4C6B-8A07-0D64C5422F6D}" destId="{3405B94A-B110-4EB0-B99D-680A85764021}" srcOrd="0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87C54C2A-2433-412F-AFDC-EF80684BA9FB}" type="presOf" srcId="{C055D918-0D48-44D3-9287-CAE1B93EB64A}" destId="{8C222443-D6D5-437E-8A06-7845FF64044F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1E5B1BBB-EB15-427C-923B-76FB6018FA59}" type="presOf" srcId="{8380A261-4409-4C6B-8A07-0D64C5422F6D}" destId="{EB789FCB-B92C-4A52-BB06-4A95FA62001B}" srcOrd="1" destOrd="0" presId="urn:microsoft.com/office/officeart/2005/8/layout/pyramid1"/>
    <dgm:cxn modelId="{FC54928D-8489-45BE-A419-478DF3152712}" type="presParOf" srcId="{8C222443-D6D5-437E-8A06-7845FF64044F}" destId="{8E592AC7-B094-488F-86DE-8B46AA43A5F7}" srcOrd="0" destOrd="0" presId="urn:microsoft.com/office/officeart/2005/8/layout/pyramid1"/>
    <dgm:cxn modelId="{DC294B94-6F0D-4281-8DCC-7EE503DCE163}" type="presParOf" srcId="{8E592AC7-B094-488F-86DE-8B46AA43A5F7}" destId="{47753778-DDCD-4F66-8671-0963E55AC1AB}" srcOrd="0" destOrd="0" presId="urn:microsoft.com/office/officeart/2005/8/layout/pyramid1"/>
    <dgm:cxn modelId="{32B8B60D-2A65-4E4C-9F0F-98AF62A9611C}" type="presParOf" srcId="{8E592AC7-B094-488F-86DE-8B46AA43A5F7}" destId="{158BBE6D-1C8E-4142-827F-B1B32D20364B}" srcOrd="1" destOrd="0" presId="urn:microsoft.com/office/officeart/2005/8/layout/pyramid1"/>
    <dgm:cxn modelId="{4C8D2E90-553F-4C69-9633-5DB19C6B4730}" type="presParOf" srcId="{8C222443-D6D5-437E-8A06-7845FF64044F}" destId="{08609C55-E487-4600-AFD0-8994D3888F22}" srcOrd="1" destOrd="0" presId="urn:microsoft.com/office/officeart/2005/8/layout/pyramid1"/>
    <dgm:cxn modelId="{9AE41948-5B39-48DA-8B26-40AF888C607C}" type="presParOf" srcId="{08609C55-E487-4600-AFD0-8994D3888F22}" destId="{7099C5AD-A666-455F-9144-31509FAE35FB}" srcOrd="0" destOrd="0" presId="urn:microsoft.com/office/officeart/2005/8/layout/pyramid1"/>
    <dgm:cxn modelId="{EDA768DD-D368-40A1-A0BA-204DC4265C49}" type="presParOf" srcId="{08609C55-E487-4600-AFD0-8994D3888F22}" destId="{8064A9E2-4365-4891-A563-4210D9FE6047}" srcOrd="1" destOrd="0" presId="urn:microsoft.com/office/officeart/2005/8/layout/pyramid1"/>
    <dgm:cxn modelId="{EE52A2AF-CD13-415D-9E54-7F7697F26A0C}" type="presParOf" srcId="{8C222443-D6D5-437E-8A06-7845FF64044F}" destId="{4E66420A-6794-4210-A8DC-A681DFE94B26}" srcOrd="2" destOrd="0" presId="urn:microsoft.com/office/officeart/2005/8/layout/pyramid1"/>
    <dgm:cxn modelId="{3162D02E-FA21-4300-B51B-7304BA500A88}" type="presParOf" srcId="{4E66420A-6794-4210-A8DC-A681DFE94B26}" destId="{3405B94A-B110-4EB0-B99D-680A85764021}" srcOrd="0" destOrd="0" presId="urn:microsoft.com/office/officeart/2005/8/layout/pyramid1"/>
    <dgm:cxn modelId="{48E779E7-74C8-4ED9-B4DB-8D03ECADD262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43B5A7-427E-499E-B9AC-3142196392B2}">
      <dsp:nvSpPr>
        <dsp:cNvPr id="0" name=""/>
        <dsp:cNvSpPr/>
      </dsp:nvSpPr>
      <dsp:spPr>
        <a:xfrm>
          <a:off x="445268" y="0"/>
          <a:ext cx="8048918" cy="1507769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9317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i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Руководитель </a:t>
          </a:r>
          <a:r>
            <a:rPr lang="ru-RU" sz="1800" b="1" i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роекта </a:t>
          </a:r>
          <a:r>
            <a:rPr lang="ru-RU" sz="1800" kern="1200" dirty="0" smtClean="0">
              <a:solidFill>
                <a:srgbClr val="00000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rPr>
            <a:t>– Серикова </a:t>
          </a:r>
          <a:r>
            <a:rPr lang="ru-RU" sz="1800" kern="1200" dirty="0">
              <a:solidFill>
                <a:srgbClr val="00000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rPr>
            <a:t>Зинаида </a:t>
          </a:r>
          <a:r>
            <a:rPr lang="ru-RU" sz="1800" kern="1200" dirty="0" smtClean="0">
              <a:solidFill>
                <a:srgbClr val="00000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rPr>
            <a:t>Сергеевна, 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solidFill>
                <a:srgbClr val="00000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rPr>
            <a:t>заведующая отделением</a:t>
          </a:r>
          <a:endParaRPr lang="ru-RU" sz="1600" b="1" i="1" kern="1200" dirty="0">
            <a:solidFill>
              <a:srgbClr val="000000"/>
            </a:solidFill>
            <a:effectLst/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i="1" kern="1200" dirty="0">
              <a:solidFill>
                <a:srgbClr val="000000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rPr>
            <a:t>Команда </a:t>
          </a:r>
          <a:r>
            <a:rPr lang="ru-RU" sz="1800" b="1" i="1" kern="1200" dirty="0" smtClean="0">
              <a:solidFill>
                <a:srgbClr val="000000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rPr>
            <a:t>проекта </a:t>
          </a:r>
          <a:r>
            <a:rPr lang="ru-RU" sz="1800" kern="1200" dirty="0" smtClean="0">
              <a:solidFill>
                <a:srgbClr val="00000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rPr>
            <a:t>– </a:t>
          </a:r>
          <a:endParaRPr lang="ru-RU" sz="1800" b="1" i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445268" y="0"/>
        <a:ext cx="8048918" cy="1507769"/>
      </dsp:txXfrm>
    </dsp:sp>
    <dsp:sp modelId="{88E0C47F-4B5F-427B-9364-EC9D273BC5A9}">
      <dsp:nvSpPr>
        <dsp:cNvPr id="0" name=""/>
        <dsp:cNvSpPr/>
      </dsp:nvSpPr>
      <dsp:spPr>
        <a:xfrm>
          <a:off x="7511036" y="122532"/>
          <a:ext cx="747865" cy="1158794"/>
        </a:xfrm>
        <a:prstGeom prst="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prst="relaxedInse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2E57868-D3A0-4FD0-8D45-CE7BDE1371C8}">
      <dsp:nvSpPr>
        <dsp:cNvPr id="0" name=""/>
        <dsp:cNvSpPr/>
      </dsp:nvSpPr>
      <dsp:spPr>
        <a:xfrm>
          <a:off x="458708" y="2614545"/>
          <a:ext cx="6816879" cy="897145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9317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Трубецкая Галина </a:t>
          </a:r>
          <a:r>
            <a:rPr lang="ru-RU" sz="18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лександровна, заведующая </a:t>
          </a: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учебной частью </a:t>
          </a:r>
        </a:p>
      </dsp:txBody>
      <dsp:txXfrm>
        <a:off x="458708" y="2614545"/>
        <a:ext cx="6816879" cy="897145"/>
      </dsp:txXfrm>
    </dsp:sp>
    <dsp:sp modelId="{14B548B7-C666-4667-839B-66CC766381DF}">
      <dsp:nvSpPr>
        <dsp:cNvPr id="0" name=""/>
        <dsp:cNvSpPr/>
      </dsp:nvSpPr>
      <dsp:spPr>
        <a:xfrm>
          <a:off x="7492976" y="1334834"/>
          <a:ext cx="784335" cy="1047810"/>
        </a:xfrm>
        <a:prstGeom prst="rect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1000" r="-21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prst="relaxedInse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8B49FE3-DDA0-45A4-A4EB-D87E8C9A16CE}">
      <dsp:nvSpPr>
        <dsp:cNvPr id="0" name=""/>
        <dsp:cNvSpPr/>
      </dsp:nvSpPr>
      <dsp:spPr>
        <a:xfrm>
          <a:off x="488198" y="1642015"/>
          <a:ext cx="6962312" cy="827359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9317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Быков Константин </a:t>
          </a:r>
          <a:r>
            <a:rPr lang="ru-RU" sz="1800" b="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тонович, </a:t>
          </a:r>
          <a:r>
            <a:rPr lang="ru-RU" sz="1800" b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руководитель практики</a:t>
          </a:r>
        </a:p>
      </dsp:txBody>
      <dsp:txXfrm>
        <a:off x="488198" y="1642015"/>
        <a:ext cx="6962312" cy="827359"/>
      </dsp:txXfrm>
    </dsp:sp>
    <dsp:sp modelId="{28446A03-3582-4828-A647-30E81470BF77}">
      <dsp:nvSpPr>
        <dsp:cNvPr id="0" name=""/>
        <dsp:cNvSpPr/>
      </dsp:nvSpPr>
      <dsp:spPr>
        <a:xfrm>
          <a:off x="7492974" y="3527215"/>
          <a:ext cx="766919" cy="924664"/>
        </a:xfrm>
        <a:prstGeom prst="rect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6000" r="-16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prst="relaxedInse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EAAE699-F50B-462C-989B-B201A0A9347D}">
      <dsp:nvSpPr>
        <dsp:cNvPr id="0" name=""/>
        <dsp:cNvSpPr/>
      </dsp:nvSpPr>
      <dsp:spPr>
        <a:xfrm>
          <a:off x="487396" y="3716781"/>
          <a:ext cx="6899122" cy="678124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9317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err="1">
              <a:latin typeface="Times New Roman" panose="02020603050405020304" pitchFamily="18" charset="0"/>
              <a:cs typeface="Times New Roman" panose="02020603050405020304" pitchFamily="18" charset="0"/>
            </a:rPr>
            <a:t>Салыкаева</a:t>
          </a: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 Фаина </a:t>
          </a:r>
          <a:r>
            <a:rPr lang="ru-RU" sz="18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Евгеньевна, </a:t>
          </a: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методист</a:t>
          </a:r>
        </a:p>
      </dsp:txBody>
      <dsp:txXfrm>
        <a:off x="487396" y="3716781"/>
        <a:ext cx="6899122" cy="678124"/>
      </dsp:txXfrm>
    </dsp:sp>
    <dsp:sp modelId="{02C2EC54-81FE-4493-8A78-96E85D43BB37}">
      <dsp:nvSpPr>
        <dsp:cNvPr id="0" name=""/>
        <dsp:cNvSpPr/>
      </dsp:nvSpPr>
      <dsp:spPr>
        <a:xfrm>
          <a:off x="7492976" y="2472349"/>
          <a:ext cx="748686" cy="963634"/>
        </a:xfrm>
        <a:prstGeom prst="rect">
          <a:avLst/>
        </a:prstGeom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3000" r="-13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 prst="relaxedInset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500197" y="0"/>
          <a:ext cx="1500197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500197" y="0"/>
        <a:ext cx="1500197" cy="1729979"/>
      </dsp:txXfrm>
    </dsp:sp>
    <dsp:sp modelId="{7099C5AD-A666-455F-9144-31509FAE35FB}">
      <dsp:nvSpPr>
        <dsp:cNvPr id="0" name=""/>
        <dsp:cNvSpPr/>
      </dsp:nvSpPr>
      <dsp:spPr>
        <a:xfrm>
          <a:off x="744728" y="1746742"/>
          <a:ext cx="3000395" cy="1729979"/>
        </a:xfrm>
        <a:prstGeom prst="trapezoid">
          <a:avLst>
            <a:gd name="adj" fmla="val 43359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269797" y="1746742"/>
        <a:ext cx="1950256" cy="1729979"/>
      </dsp:txXfrm>
    </dsp:sp>
    <dsp:sp modelId="{3405B94A-B110-4EB0-B99D-680A85764021}">
      <dsp:nvSpPr>
        <dsp:cNvPr id="0" name=""/>
        <dsp:cNvSpPr/>
      </dsp:nvSpPr>
      <dsp:spPr>
        <a:xfrm>
          <a:off x="0" y="3459958"/>
          <a:ext cx="4500593" cy="1729979"/>
        </a:xfrm>
        <a:prstGeom prst="trapezoid">
          <a:avLst>
            <a:gd name="adj" fmla="val 43359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ОО</a:t>
          </a:r>
        </a:p>
      </dsp:txBody>
      <dsp:txXfrm>
        <a:off x="787603" y="3459958"/>
        <a:ext cx="2925385" cy="17299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2-25T17:34:26.373"/>
    </inkml:context>
    <inkml:brush xml:id="br0">
      <inkml:brushProperty name="width" value="0.025" units="cm"/>
      <inkml:brushProperty name="height" value="0.15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220 0,'0'5,"0"-8,0 26,0 19,0 5,0 7,0 8,0 1,-13 7,-3 4,-4 6,-7 7,1-4,5 1,7-1,0 2,4 0,-6 1,1-1,2-7,4-12,3-17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2-25T17:34:32.873"/>
    </inkml:context>
    <inkml:brush xml:id="br0">
      <inkml:brushProperty name="width" value="0.025" units="cm"/>
      <inkml:brushProperty name="height" value="0.15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0 1,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2-25T17:34:33.785"/>
    </inkml:context>
    <inkml:brush xml:id="br0">
      <inkml:brushProperty name="width" value="0.025" units="cm"/>
      <inkml:brushProperty name="height" value="0.15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1 1,'0'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2-25T17:35:17.345"/>
    </inkml:context>
    <inkml:brush xml:id="br0">
      <inkml:brushProperty name="width" value="0.025" units="cm"/>
      <inkml:brushProperty name="height" value="0.15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1 1,'0'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12-25T17:36:11.353"/>
    </inkml:context>
    <inkml:brush xml:id="br0">
      <inkml:brushProperty name="width" value="0.025" units="cm"/>
      <inkml:brushProperty name="height" value="0.15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0 0,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29837" cy="4971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2" y="1"/>
            <a:ext cx="2929837" cy="4971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03.02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96938" y="746125"/>
            <a:ext cx="4967287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22694"/>
            <a:ext cx="5408930" cy="447413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3663"/>
            <a:ext cx="2929837" cy="497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2" y="9443663"/>
            <a:ext cx="2929837" cy="497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3889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03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03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03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03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03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03.0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03.02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03.02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03.02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03.0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03.0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03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ustomXml" Target="../ink/ink1.xml"/><Relationship Id="rId13" Type="http://schemas.openxmlformats.org/officeDocument/2006/relationships/image" Target="../media/image1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12" Type="http://schemas.openxmlformats.org/officeDocument/2006/relationships/customXml" Target="../ink/ink3.xml"/><Relationship Id="rId17" Type="http://schemas.openxmlformats.org/officeDocument/2006/relationships/image" Target="../media/image17.png"/><Relationship Id="rId2" Type="http://schemas.openxmlformats.org/officeDocument/2006/relationships/tags" Target="../tags/tag1.xml"/><Relationship Id="rId16" Type="http://schemas.openxmlformats.org/officeDocument/2006/relationships/customXml" Target="../ink/ink5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11" Type="http://schemas.openxmlformats.org/officeDocument/2006/relationships/image" Target="../media/image14.png"/><Relationship Id="rId5" Type="http://schemas.openxmlformats.org/officeDocument/2006/relationships/image" Target="../media/image12.emf"/><Relationship Id="rId15" Type="http://schemas.openxmlformats.org/officeDocument/2006/relationships/image" Target="../media/image16.png"/><Relationship Id="rId10" Type="http://schemas.openxmlformats.org/officeDocument/2006/relationships/customXml" Target="../ink/ink2.xml"/><Relationship Id="rId4" Type="http://schemas.openxmlformats.org/officeDocument/2006/relationships/oleObject" Target="../embeddings/oleObject1.bin"/><Relationship Id="rId9" Type="http://schemas.openxmlformats.org/officeDocument/2006/relationships/image" Target="../media/image13.png"/><Relationship Id="rId14" Type="http://schemas.openxmlformats.org/officeDocument/2006/relationships/customXml" Target="../ink/ink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1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1052743" y="944439"/>
            <a:ext cx="7551705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Государственное бюджетное профессиональное образовательное учреждение «Южно-Уральский многопрофильный колледж»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проекта по внедрению бережливых технологий в системе образования </a:t>
            </a: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ой области (для </a:t>
            </a:r>
            <a:r>
              <a:rPr lang="en-US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ick off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3923928" y="5119241"/>
            <a:ext cx="4851575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dirty="0"/>
          </a:p>
          <a:p>
            <a:pPr algn="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иректор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БПОУ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ЮУМК»</a:t>
            </a:r>
          </a:p>
          <a:p>
            <a:pPr algn="r"/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.П.Большаков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831999" y="3314548"/>
            <a:ext cx="7624018" cy="16312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разработки и согласования образовательной программы с работодателем» </a:t>
            </a: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примере ГБПОУ «Южно-Уральский многопрофильный колледж»</a:t>
            </a: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2022г.</a:t>
            </a:r>
          </a:p>
        </p:txBody>
      </p:sp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0</a:t>
            </a:fld>
            <a:endParaRPr lang="ru-RU" sz="1400"/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60381674"/>
              </p:ext>
            </p:extLst>
          </p:nvPr>
        </p:nvGraphicFramePr>
        <p:xfrm>
          <a:off x="285720" y="1063681"/>
          <a:ext cx="8678767" cy="55521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3702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87008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72205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14959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531186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itchFamily="18" charset="0"/>
                          <a:cs typeface="Times New Roman" pitchFamily="18" charset="0"/>
                        </a:rPr>
                        <a:t> Проблем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itchFamily="18" charset="0"/>
                          <a:cs typeface="Times New Roman" pitchFamily="18" charset="0"/>
                        </a:rPr>
                        <a:t>Мероприятия  по решению проблемы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itchFamily="18" charset="0"/>
                          <a:cs typeface="Times New Roman" pitchFamily="18" charset="0"/>
                        </a:rPr>
                        <a:t>Ответственный</a:t>
                      </a:r>
                      <a:r>
                        <a:rPr lang="ru-RU" sz="1400" baseline="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itchFamily="18" charset="0"/>
                          <a:cs typeface="Times New Roman" pitchFamily="18" charset="0"/>
                        </a:rPr>
                        <a:t>срок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155129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kern="1200" dirty="0">
                          <a:solidFill>
                            <a:schemeClr val="dk1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. 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Предприятие не знакомо с образовательным процессом. Противоречия в требованиях к специалистам ПАО «ЧМК»и уровнем компетентности выпускника ГБПОУ «ЮУМК»</a:t>
                      </a:r>
                      <a:endParaRPr lang="ru-RU" altLang="ru-RU" sz="1200" kern="1200" dirty="0">
                        <a:solidFill>
                          <a:schemeClr val="dk1"/>
                        </a:solidFill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Разработка образовательной программы под четкий заказ производства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Руководитель практики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Быков К.А.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зав.отделением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Серикова З.С.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Calibri"/>
                          <a:cs typeface="Times New Roman"/>
                        </a:rPr>
                        <a:t>15.11.2022 – 18.11.2022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44298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kern="1200" dirty="0">
                          <a:solidFill>
                            <a:schemeClr val="dk1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2. 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Отсутствие чётких рекомендаций по разработке учебного плана ОПОП</a:t>
                      </a:r>
                      <a:endParaRPr lang="ru-RU" altLang="ru-RU" sz="1200" kern="1200" dirty="0">
                        <a:solidFill>
                          <a:schemeClr val="dk1"/>
                        </a:solidFill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91427" marR="91427" marT="45735" marB="45735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Разработка ОПОП согласно методических рекомендаций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Методический отдел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Calibri"/>
                          <a:cs typeface="Times New Roman"/>
                        </a:rPr>
                        <a:t>18.11.2022-13.01.2023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10831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altLang="ru-RU" sz="1200" kern="1200" dirty="0">
                          <a:solidFill>
                            <a:schemeClr val="dk1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3. 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Длительность формулирования требований работодателем</a:t>
                      </a:r>
                      <a:endParaRPr lang="ru-RU" altLang="ru-RU" sz="1200" kern="1200" dirty="0">
                        <a:solidFill>
                          <a:schemeClr val="dk1"/>
                        </a:solidFill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Назначение ответственного лица, прошедшего обучение и принимающего решения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Руководитель практики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Быков К.А.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зав.отделением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Серикова З.С.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16.11.2022-30.11.2022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799714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altLang="ru-RU" sz="1200" kern="1200" dirty="0">
                          <a:solidFill>
                            <a:schemeClr val="dk1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4. 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Замечания формулируются в общем виде без конкретизации. Работники предприятия не ориентируются в структуре и содержании ОПОП</a:t>
                      </a:r>
                      <a:endParaRPr lang="ru-RU" altLang="ru-RU" sz="1200" kern="1200" dirty="0">
                        <a:solidFill>
                          <a:schemeClr val="dk1"/>
                        </a:solidFill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Назначение ответственного лица, прошедшего обучение и принимающего решения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Calibri"/>
                          <a:cs typeface="Times New Roman"/>
                        </a:rPr>
                        <a:t>Руководитель практики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Calibri"/>
                          <a:cs typeface="Times New Roman"/>
                        </a:rPr>
                        <a:t>Быков К.А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Calibri"/>
                          <a:cs typeface="Times New Roman"/>
                        </a:rPr>
                        <a:t>Команда проекта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25.11.2022-30.11.2022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606835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altLang="ru-RU" sz="1200" kern="1200" dirty="0">
                          <a:solidFill>
                            <a:schemeClr val="dk1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5. </a:t>
                      </a:r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Отсутствуют единые требования к оформлению рабочих программ</a:t>
                      </a:r>
                      <a:endParaRPr lang="ru-RU" altLang="ru-RU" sz="1200" kern="1200" dirty="0">
                        <a:solidFill>
                          <a:schemeClr val="dk1"/>
                        </a:solidFill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Разработка макета рабочей программы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Calibri"/>
                          <a:cs typeface="Times New Roman"/>
                        </a:rPr>
                        <a:t>Методический отдел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15.11.2022-25.11.2022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606835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6.Большая педагогическая нагрузка преподавателей</a:t>
                      </a:r>
                      <a:endParaRPr lang="ru-RU" altLang="ru-RU" sz="1200" kern="1200" dirty="0">
                        <a:solidFill>
                          <a:schemeClr val="dk1"/>
                        </a:solidFill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Равномерное распределение учебной нагрузки между преподавателями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Calibri"/>
                          <a:cs typeface="Times New Roman"/>
                        </a:rPr>
                        <a:t>Заведующая учебной части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Calibri"/>
                          <a:cs typeface="Times New Roman"/>
                        </a:rPr>
                        <a:t>Трубецкая Г.А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Calibri"/>
                          <a:cs typeface="Times New Roman"/>
                        </a:rPr>
                        <a:t>20.11.2022-01.12.2022</a:t>
                      </a: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606835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7.Значительные потери времени на согласование документов</a:t>
                      </a:r>
                      <a:endParaRPr lang="ru-RU" altLang="ru-RU" sz="1200" kern="1200" dirty="0">
                        <a:solidFill>
                          <a:schemeClr val="dk1"/>
                        </a:solidFill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Соблюдение времени на согласование ОПОП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Calibri"/>
                          <a:cs typeface="Times New Roman"/>
                        </a:rPr>
                        <a:t>Руководитель практики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Calibri"/>
                          <a:cs typeface="Times New Roman"/>
                        </a:rPr>
                        <a:t>Быков К.А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Calibri"/>
                          <a:cs typeface="Times New Roman"/>
                        </a:rPr>
                        <a:t>25.11.2022-01.12.2022</a:t>
                      </a: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28728" y="500042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</a:p>
        </p:txBody>
      </p:sp>
      <mc:AlternateContent xmlns:mc="http://schemas.openxmlformats.org/markup-compatibility/2006">
        <mc:Choice xmlns="" xmlns:p14="http://schemas.microsoft.com/office/powerpoint/2010/main" xmlns:aink="http://schemas.microsoft.com/office/drawing/2016/ink" Requires="p14 aink">
          <p:contentPart p14:bwMode="auto" r:id="rId8">
            <p14:nvContentPartPr>
              <p14:cNvPr id="2" name="Рукописный ввод 1">
                <a:extLst>
                  <a:ext uri="{FF2B5EF4-FFF2-40B4-BE49-F238E27FC236}">
                    <a16:creationId xmlns:a16="http://schemas.microsoft.com/office/drawing/2014/main" id="{DF3BF37A-8807-5811-2BEA-18B2E551F1A5}"/>
                  </a:ext>
                </a:extLst>
              </p14:cNvPr>
              <p14:cNvContentPartPr/>
              <p14:nvPr/>
            </p14:nvContentPartPr>
            <p14:xfrm>
              <a:off x="3329591" y="1047153"/>
              <a:ext cx="79560" cy="500040"/>
            </p14:xfrm>
          </p:contentPart>
        </mc:Choice>
        <mc:Fallback>
          <p:pic>
            <p:nvPicPr>
              <p:cNvPr id="2" name="Рукописный ввод 1">
                <a:extLst>
                  <a:ext uri="{FF2B5EF4-FFF2-40B4-BE49-F238E27FC236}">
                    <a16:creationId xmlns="" xmlns:a16="http://schemas.microsoft.com/office/drawing/2014/main" id="{DF3BF37A-8807-5811-2BEA-18B2E551F1A5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3325271" y="1020153"/>
                <a:ext cx="88200" cy="553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="" xmlns:p14="http://schemas.microsoft.com/office/powerpoint/2010/main" xmlns:aink="http://schemas.microsoft.com/office/drawing/2016/ink" Requires="p14 aink">
          <p:contentPart p14:bwMode="auto" r:id="rId10">
            <p14:nvContentPartPr>
              <p14:cNvPr id="6" name="Рукописный ввод 5">
                <a:extLst>
                  <a:ext uri="{FF2B5EF4-FFF2-40B4-BE49-F238E27FC236}">
                    <a16:creationId xmlns:a16="http://schemas.microsoft.com/office/drawing/2014/main" id="{26737B11-A0DD-F15B-F5FD-77DFA1F65102}"/>
                  </a:ext>
                </a:extLst>
              </p14:cNvPr>
              <p14:cNvContentPartPr/>
              <p14:nvPr/>
            </p14:nvContentPartPr>
            <p14:xfrm>
              <a:off x="3852671" y="1988193"/>
              <a:ext cx="360" cy="360"/>
            </p14:xfrm>
          </p:contentPart>
        </mc:Choice>
        <mc:Fallback>
          <p:pic>
            <p:nvPicPr>
              <p:cNvPr id="6" name="Рукописный ввод 5">
                <a:extLst>
                  <a:ext uri="{FF2B5EF4-FFF2-40B4-BE49-F238E27FC236}">
                    <a16:creationId xmlns="" xmlns:a16="http://schemas.microsoft.com/office/drawing/2014/main" id="{26737B11-A0DD-F15B-F5FD-77DFA1F65102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3848351" y="1961553"/>
                <a:ext cx="9000" cy="54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="" xmlns:p14="http://schemas.microsoft.com/office/powerpoint/2010/main" xmlns:aink="http://schemas.microsoft.com/office/drawing/2016/ink" Requires="p14 aink">
          <p:contentPart p14:bwMode="auto" r:id="rId12">
            <p14:nvContentPartPr>
              <p14:cNvPr id="7" name="Рукописный ввод 6">
                <a:extLst>
                  <a:ext uri="{FF2B5EF4-FFF2-40B4-BE49-F238E27FC236}">
                    <a16:creationId xmlns:a16="http://schemas.microsoft.com/office/drawing/2014/main" id="{D4CB6272-D82D-2EDA-2CF4-80FC17A7BDFA}"/>
                  </a:ext>
                </a:extLst>
              </p14:cNvPr>
              <p14:cNvContentPartPr/>
              <p14:nvPr/>
            </p14:nvContentPartPr>
            <p14:xfrm>
              <a:off x="3390791" y="1286913"/>
              <a:ext cx="360" cy="360"/>
            </p14:xfrm>
          </p:contentPart>
        </mc:Choice>
        <mc:Fallback>
          <p:pic>
            <p:nvPicPr>
              <p:cNvPr id="7" name="Рукописный ввод 6">
                <a:extLst>
                  <a:ext uri="{FF2B5EF4-FFF2-40B4-BE49-F238E27FC236}">
                    <a16:creationId xmlns="" xmlns:a16="http://schemas.microsoft.com/office/drawing/2014/main" id="{D4CB6272-D82D-2EDA-2CF4-80FC17A7BDFA}"/>
                  </a:ext>
                </a:extLst>
              </p:cNvPr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3386471" y="1260273"/>
                <a:ext cx="9000" cy="54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="" xmlns:p14="http://schemas.microsoft.com/office/powerpoint/2010/main" xmlns:aink="http://schemas.microsoft.com/office/drawing/2016/ink" Requires="p14 aink">
          <p:contentPart p14:bwMode="auto" r:id="rId14">
            <p14:nvContentPartPr>
              <p14:cNvPr id="14" name="Рукописный ввод 13">
                <a:extLst>
                  <a:ext uri="{FF2B5EF4-FFF2-40B4-BE49-F238E27FC236}">
                    <a16:creationId xmlns:a16="http://schemas.microsoft.com/office/drawing/2014/main" id="{FE6C2DF5-2400-730F-B7C7-D64539FF9AD9}"/>
                  </a:ext>
                </a:extLst>
              </p14:cNvPr>
              <p14:cNvContentPartPr/>
              <p14:nvPr/>
            </p14:nvContentPartPr>
            <p14:xfrm>
              <a:off x="5441711" y="1934913"/>
              <a:ext cx="360" cy="360"/>
            </p14:xfrm>
          </p:contentPart>
        </mc:Choice>
        <mc:Fallback>
          <p:pic>
            <p:nvPicPr>
              <p:cNvPr id="14" name="Рукописный ввод 13">
                <a:extLst>
                  <a:ext uri="{FF2B5EF4-FFF2-40B4-BE49-F238E27FC236}">
                    <a16:creationId xmlns="" xmlns:a16="http://schemas.microsoft.com/office/drawing/2014/main" id="{FE6C2DF5-2400-730F-B7C7-D64539FF9AD9}"/>
                  </a:ext>
                </a:extLst>
              </p:cNvPr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5437391" y="1908273"/>
                <a:ext cx="9000" cy="54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="" xmlns:p14="http://schemas.microsoft.com/office/powerpoint/2010/main" xmlns:aink="http://schemas.microsoft.com/office/drawing/2016/ink" Requires="p14 aink">
          <p:contentPart p14:bwMode="auto" r:id="rId16">
            <p14:nvContentPartPr>
              <p14:cNvPr id="15" name="Рукописный ввод 14">
                <a:extLst>
                  <a:ext uri="{FF2B5EF4-FFF2-40B4-BE49-F238E27FC236}">
                    <a16:creationId xmlns:a16="http://schemas.microsoft.com/office/drawing/2014/main" id="{10E205B3-5967-FFD8-96E8-6E6D2A2579B3}"/>
                  </a:ext>
                </a:extLst>
              </p14:cNvPr>
              <p14:cNvContentPartPr/>
              <p14:nvPr/>
            </p14:nvContentPartPr>
            <p14:xfrm>
              <a:off x="4589591" y="6693393"/>
              <a:ext cx="360" cy="360"/>
            </p14:xfrm>
          </p:contentPart>
        </mc:Choice>
        <mc:Fallback>
          <p:pic>
            <p:nvPicPr>
              <p:cNvPr id="15" name="Рукописный ввод 14">
                <a:extLst>
                  <a:ext uri="{FF2B5EF4-FFF2-40B4-BE49-F238E27FC236}">
                    <a16:creationId xmlns="" xmlns:a16="http://schemas.microsoft.com/office/drawing/2014/main" id="{10E205B3-5967-FFD8-96E8-6E6D2A2579B3}"/>
                  </a:ext>
                </a:extLst>
              </p:cNvPr>
              <p:cNvPicPr/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4585271" y="6666393"/>
                <a:ext cx="9000" cy="54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Заголовок 1"/>
          <p:cNvSpPr>
            <a:spLocks noGrp="1"/>
          </p:cNvSpPr>
          <p:nvPr>
            <p:ph type="title"/>
          </p:nvPr>
        </p:nvSpPr>
        <p:spPr>
          <a:xfrm>
            <a:off x="483844" y="959978"/>
            <a:ext cx="8229600" cy="490538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28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Результаты  в процессе оптимизации</a:t>
            </a:r>
          </a:p>
        </p:txBody>
      </p:sp>
      <p:sp>
        <p:nvSpPr>
          <p:cNvPr id="23555" name="Содержимое 4"/>
          <p:cNvSpPr>
            <a:spLocks noGrp="1"/>
          </p:cNvSpPr>
          <p:nvPr>
            <p:ph idx="1"/>
          </p:nvPr>
        </p:nvSpPr>
        <p:spPr>
          <a:xfrm>
            <a:off x="461606" y="1484784"/>
            <a:ext cx="8229600" cy="461665"/>
          </a:xfrm>
        </p:spPr>
        <p:txBody>
          <a:bodyPr>
            <a:spAutoFit/>
          </a:bodyPr>
          <a:lstStyle/>
          <a:p>
            <a:pPr algn="ctr" eaLnBrk="1" hangingPunct="1">
              <a:buFont typeface="Arial" charset="0"/>
              <a:buNone/>
            </a:pPr>
            <a:r>
              <a:rPr lang="ru-RU" altLang="ru-RU" sz="2400" b="1" i="1" dirty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</a:rPr>
              <a:t>Время протекания процесса:</a:t>
            </a:r>
            <a:r>
              <a:rPr lang="en-US" altLang="ru-RU" sz="2400" b="1" i="1" dirty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altLang="ru-RU" sz="2400" b="1" i="1" dirty="0">
              <a:solidFill>
                <a:srgbClr val="00B0F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554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eaLnBrk="0" hangingPunct="0"/>
            <a:fld id="{73995617-6FF0-4B41-9B11-82E5C3F61D0B}" type="slidenum">
              <a:rPr lang="ru-RU" altLang="ru-RU" smtClean="0">
                <a:latin typeface="Arial" charset="0"/>
              </a:rPr>
              <a:pPr eaLnBrk="0" hangingPunct="0"/>
              <a:t>11</a:t>
            </a:fld>
            <a:endParaRPr lang="ru-RU" altLang="ru-RU">
              <a:latin typeface="Arial" charset="0"/>
            </a:endParaRPr>
          </a:p>
        </p:txBody>
      </p:sp>
      <p:pic>
        <p:nvPicPr>
          <p:cNvPr id="16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256" y="630510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2838484"/>
              </p:ext>
            </p:extLst>
          </p:nvPr>
        </p:nvGraphicFramePr>
        <p:xfrm>
          <a:off x="1162731" y="2276872"/>
          <a:ext cx="7101432" cy="2941498"/>
        </p:xfrm>
        <a:graphic>
          <a:graphicData uri="http://schemas.openxmlformats.org/drawingml/2006/table">
            <a:tbl>
              <a:tblPr/>
              <a:tblGrid>
                <a:gridCol w="319380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7419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73342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58574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Calibri"/>
                          <a:cs typeface="Times New Roman"/>
                        </a:rPr>
                        <a:t>Наименование показателя</a:t>
                      </a:r>
                      <a:endParaRPr lang="ru-RU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>
                          <a:latin typeface="Times New Roman"/>
                          <a:ea typeface="Calibri"/>
                          <a:cs typeface="Times New Roman"/>
                        </a:rPr>
                        <a:t>Текущий</a:t>
                      </a:r>
                      <a:endParaRPr lang="ru-RU" sz="140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>
                          <a:latin typeface="Times New Roman"/>
                          <a:ea typeface="Calibri"/>
                          <a:cs typeface="Times New Roman"/>
                        </a:rPr>
                        <a:t>показатель</a:t>
                      </a:r>
                      <a:endParaRPr lang="ru-RU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>
                          <a:latin typeface="Times New Roman"/>
                          <a:ea typeface="Calibri"/>
                          <a:cs typeface="Times New Roman"/>
                        </a:rPr>
                        <a:t>Целевой</a:t>
                      </a:r>
                      <a:endParaRPr lang="ru-RU" sz="140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>
                          <a:latin typeface="Times New Roman"/>
                          <a:ea typeface="Calibri"/>
                          <a:cs typeface="Times New Roman"/>
                        </a:rPr>
                        <a:t>показатель</a:t>
                      </a:r>
                      <a:endParaRPr lang="ru-RU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852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Calibri"/>
                          <a:cs typeface="Times New Roman"/>
                        </a:rPr>
                        <a:t>Время разработки образовательной программы</a:t>
                      </a:r>
                      <a:endParaRPr lang="ru-RU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Calibri"/>
                          <a:cs typeface="Times New Roman"/>
                        </a:rPr>
                        <a:t>114 дней</a:t>
                      </a:r>
                      <a:endParaRPr lang="ru-RU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Calibri"/>
                          <a:cs typeface="Times New Roman"/>
                        </a:rPr>
                        <a:t>Сокращение в 3 раза</a:t>
                      </a:r>
                      <a:endParaRPr lang="ru-RU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852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ysClr val="windowText" lastClr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Время согласования образовательной программы с работодателем</a:t>
                      </a:r>
                      <a:endParaRPr lang="ru-RU" sz="1400" dirty="0">
                        <a:solidFill>
                          <a:sysClr val="windowText" lastClr="000000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ysClr val="windowText" lastClr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38 </a:t>
                      </a:r>
                      <a:r>
                        <a:rPr lang="ru-RU" sz="1400" dirty="0">
                          <a:solidFill>
                            <a:sysClr val="windowText" lastClr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дней</a:t>
                      </a:r>
                      <a:endParaRPr lang="ru-RU" sz="1400" dirty="0">
                        <a:solidFill>
                          <a:sysClr val="windowText" lastClr="000000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ysClr val="windowText" lastClr="000000"/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Сокращение в 3 раза</a:t>
                      </a:r>
                      <a:endParaRPr lang="ru-RU" sz="1400" dirty="0">
                        <a:solidFill>
                          <a:sysClr val="windowText" lastClr="000000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852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Calibri"/>
                          <a:cs typeface="Times New Roman"/>
                        </a:rPr>
                        <a:t>Доля выпускников, трудоустроившихся по специальности (профессии)</a:t>
                      </a:r>
                      <a:endParaRPr lang="ru-RU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Calibri"/>
                          <a:cs typeface="Times New Roman"/>
                        </a:rPr>
                        <a:t>73%</a:t>
                      </a:r>
                      <a:endParaRPr lang="ru-RU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Calibri"/>
                          <a:cs typeface="Times New Roman"/>
                        </a:rPr>
                        <a:t>85%</a:t>
                      </a:r>
                      <a:endParaRPr lang="ru-RU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39881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429" y="520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7090" y="6194895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rtlCol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D8E1C705-14D6-41FD-9035-1DBB5D4D54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EAAD7EC1-B107-F928-3A65-411C0B4670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1149" y="948552"/>
            <a:ext cx="9144000" cy="703987"/>
          </a:xfrm>
          <a:prstGeom prst="rect">
            <a:avLst/>
          </a:prstGeom>
        </p:spPr>
      </p:pic>
      <p:pic>
        <p:nvPicPr>
          <p:cNvPr id="9" name="Рисунок 8"/>
          <p:cNvPicPr/>
          <p:nvPr/>
        </p:nvPicPr>
        <p:blipFill rotWithShape="1">
          <a:blip r:embed="rId5"/>
          <a:srcRect l="10118" t="4796" r="10415" b="3623"/>
          <a:stretch/>
        </p:blipFill>
        <p:spPr bwMode="auto">
          <a:xfrm>
            <a:off x="1331640" y="1519237"/>
            <a:ext cx="6408711" cy="467565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860944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="" xmlns:a16="http://schemas.microsoft.com/office/drawing/2014/main" id="{C89A1D25-6971-9EC8-98B2-A27CA504E7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3</a:t>
            </a:fld>
            <a:endParaRPr lang="ru-RU"/>
          </a:p>
        </p:txBody>
      </p:sp>
      <p:pic>
        <p:nvPicPr>
          <p:cNvPr id="3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61DA035-0845-EBCB-3221-651563C865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>
            <a:extLst>
              <a:ext uri="{FF2B5EF4-FFF2-40B4-BE49-F238E27FC236}">
                <a16:creationId xmlns="" xmlns:a16="http://schemas.microsoft.com/office/drawing/2014/main" id="{008E8B63-1035-BAF6-3011-6EF2B53ACA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8953" y="39116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Заголовок 1">
            <a:extLst>
              <a:ext uri="{FF2B5EF4-FFF2-40B4-BE49-F238E27FC236}">
                <a16:creationId xmlns="" xmlns:a16="http://schemas.microsoft.com/office/drawing/2014/main" id="{7B8E5759-3159-02D8-9459-1F15BAAB3E80}"/>
              </a:ext>
            </a:extLst>
          </p:cNvPr>
          <p:cNvSpPr txBox="1">
            <a:spLocks/>
          </p:cNvSpPr>
          <p:nvPr/>
        </p:nvSpPr>
        <p:spPr>
          <a:xfrm>
            <a:off x="1043608" y="173790"/>
            <a:ext cx="3312369" cy="360040"/>
          </a:xfrm>
          <a:prstGeom prst="rect">
            <a:avLst/>
          </a:prstGeom>
        </p:spPr>
        <p:txBody>
          <a:bodyPr rtlCol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="" xmlns:a16="http://schemas.microsoft.com/office/drawing/2014/main" id="{AE75AB50-77F7-C17D-C74B-6777AFEA31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630510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8E596988-8DE7-32B1-FF96-CD6101D76E9E}"/>
              </a:ext>
            </a:extLst>
          </p:cNvPr>
          <p:cNvSpPr txBox="1"/>
          <p:nvPr/>
        </p:nvSpPr>
        <p:spPr>
          <a:xfrm>
            <a:off x="1619672" y="751201"/>
            <a:ext cx="676875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ru-RU" sz="24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Приказ директора об открытии проекта</a:t>
            </a:r>
            <a:endParaRPr lang="ru-RU" i="1" dirty="0"/>
          </a:p>
        </p:txBody>
      </p:sp>
      <p:pic>
        <p:nvPicPr>
          <p:cNvPr id="9" name="Рисунок 8"/>
          <p:cNvPicPr/>
          <p:nvPr/>
        </p:nvPicPr>
        <p:blipFill rotWithShape="1">
          <a:blip r:embed="rId4"/>
          <a:srcRect l="29329" t="4578" r="29323" b="5301"/>
          <a:stretch/>
        </p:blipFill>
        <p:spPr bwMode="auto">
          <a:xfrm>
            <a:off x="2483768" y="1124744"/>
            <a:ext cx="4104456" cy="518036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1528794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="" xmlns:a16="http://schemas.microsoft.com/office/drawing/2014/main" id="{B6D0A216-718F-ABA9-9AA3-EEDFFA6272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4</a:t>
            </a:fld>
            <a:endParaRPr lang="ru-RU"/>
          </a:p>
        </p:txBody>
      </p:sp>
      <p:pic>
        <p:nvPicPr>
          <p:cNvPr id="3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D9753F24-9CF9-FD46-9A7F-A97E8C4BFA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Заголовок 1">
            <a:extLst>
              <a:ext uri="{FF2B5EF4-FFF2-40B4-BE49-F238E27FC236}">
                <a16:creationId xmlns="" xmlns:a16="http://schemas.microsoft.com/office/drawing/2014/main" id="{50611EAF-9639-68D5-EE29-EB393DB9E565}"/>
              </a:ext>
            </a:extLst>
          </p:cNvPr>
          <p:cNvSpPr txBox="1">
            <a:spLocks/>
          </p:cNvSpPr>
          <p:nvPr/>
        </p:nvSpPr>
        <p:spPr>
          <a:xfrm>
            <a:off x="1043608" y="173790"/>
            <a:ext cx="3312369" cy="360040"/>
          </a:xfrm>
          <a:prstGeom prst="rect">
            <a:avLst/>
          </a:prstGeom>
        </p:spPr>
        <p:txBody>
          <a:bodyPr rtlCol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="" xmlns:a16="http://schemas.microsoft.com/office/drawing/2014/main" id="{A5E82CAE-BC5E-C4FF-5743-912BF84EDA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664" y="57364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>
            <a:extLst>
              <a:ext uri="{FF2B5EF4-FFF2-40B4-BE49-F238E27FC236}">
                <a16:creationId xmlns="" xmlns:a16="http://schemas.microsoft.com/office/drawing/2014/main" id="{66668619-9DD6-FC64-B7BF-4210BF4B74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844" y="648717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7247C438-83DD-831B-41A6-BF3946E6B0E8}"/>
              </a:ext>
            </a:extLst>
          </p:cNvPr>
          <p:cNvSpPr txBox="1"/>
          <p:nvPr/>
        </p:nvSpPr>
        <p:spPr>
          <a:xfrm>
            <a:off x="2621022" y="821240"/>
            <a:ext cx="496855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400" b="1" i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Руководитель и команда проекта</a:t>
            </a:r>
          </a:p>
          <a:p>
            <a:pPr algn="ctr"/>
            <a:endParaRPr lang="ru-RU" sz="2400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8" name="Схема 17">
            <a:extLst>
              <a:ext uri="{FF2B5EF4-FFF2-40B4-BE49-F238E27FC236}">
                <a16:creationId xmlns="" xmlns:a16="http://schemas.microsoft.com/office/drawing/2014/main" id="{79F726BA-3199-3C33-B0EF-415DB2E1B37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30018966"/>
              </p:ext>
            </p:extLst>
          </p:nvPr>
        </p:nvGraphicFramePr>
        <p:xfrm>
          <a:off x="493719" y="1284712"/>
          <a:ext cx="8494187" cy="48777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8A84A365-2275-B81A-FEE1-D19C303C8C2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8384" y="5809808"/>
            <a:ext cx="729983" cy="99373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3585E5D2-2463-BC91-F6E7-27F4FBFCCF78}"/>
              </a:ext>
            </a:extLst>
          </p:cNvPr>
          <p:cNvSpPr txBox="1"/>
          <p:nvPr/>
        </p:nvSpPr>
        <p:spPr>
          <a:xfrm>
            <a:off x="882779" y="5983510"/>
            <a:ext cx="687997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киньшина Нина </a:t>
            </a:r>
            <a:r>
              <a:rPr lang="ru-RU" sz="18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вановна, </a:t>
            </a:r>
            <a:r>
              <a:rPr lang="ru-RU" sz="1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едседатель ЦМК</a:t>
            </a:r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427627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="" xmlns:a16="http://schemas.microsoft.com/office/drawing/2014/main" id="{F69E0A2F-A755-FBEC-206E-83903540C6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5</a:t>
            </a:fld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2627784" y="476672"/>
            <a:ext cx="432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i="1" dirty="0" smtClean="0">
                <a:solidFill>
                  <a:srgbClr val="C00000"/>
                </a:solidFill>
                <a:latin typeface="Times New Roman"/>
                <a:ea typeface="Calibri"/>
              </a:rPr>
              <a:t>Стенд  по проекту</a:t>
            </a:r>
            <a:endParaRPr lang="ru-RU" b="1" i="1" dirty="0">
              <a:solidFill>
                <a:srgbClr val="C00000"/>
              </a:solidFill>
            </a:endParaRPr>
          </a:p>
        </p:txBody>
      </p:sp>
      <p:pic>
        <p:nvPicPr>
          <p:cNvPr id="4" name="Рисунок 3"/>
          <p:cNvPicPr/>
          <p:nvPr/>
        </p:nvPicPr>
        <p:blipFill rotWithShape="1">
          <a:blip r:embed="rId2"/>
          <a:srcRect l="11700" t="4617" r="11532" b="4872"/>
          <a:stretch/>
        </p:blipFill>
        <p:spPr bwMode="auto">
          <a:xfrm>
            <a:off x="611560" y="846004"/>
            <a:ext cx="7992888" cy="582335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41649991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ик 70"/>
          <p:cNvSpPr/>
          <p:nvPr/>
        </p:nvSpPr>
        <p:spPr>
          <a:xfrm>
            <a:off x="889166" y="1143000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500813"/>
            <a:ext cx="347662" cy="285750"/>
          </a:xfrm>
        </p:spPr>
        <p:txBody>
          <a:bodyPr/>
          <a:lstStyle/>
          <a:p>
            <a:pPr algn="ctr">
              <a:defRPr/>
            </a:pPr>
            <a:fld id="{2AD4DEC4-E446-475C-A333-F6C77385E2A3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2326838" y="3861048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379" name="TextBox 48"/>
          <p:cNvSpPr txBox="1">
            <a:spLocks noChangeArrowheads="1"/>
          </p:cNvSpPr>
          <p:nvPr/>
        </p:nvSpPr>
        <p:spPr bwMode="auto">
          <a:xfrm>
            <a:off x="4143372" y="6519446"/>
            <a:ext cx="460851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ремя протекания процесса – 114 дней </a:t>
            </a: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6733194"/>
              </p:ext>
            </p:extLst>
          </p:nvPr>
        </p:nvGraphicFramePr>
        <p:xfrm>
          <a:off x="483844" y="1603534"/>
          <a:ext cx="1751856" cy="1232446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частник процесса</a:t>
                      </a: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АО «ЧМК»</a:t>
                      </a:r>
                      <a:br>
                        <a:rPr lang="ru-RU" sz="11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</a:br>
                      <a:r>
                        <a:rPr lang="ru-RU" sz="11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ЮУМК ТТК (команда проекта)</a:t>
                      </a: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9" name="Таблица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8099024"/>
              </p:ext>
            </p:extLst>
          </p:nvPr>
        </p:nvGraphicFramePr>
        <p:xfrm>
          <a:off x="0" y="4758342"/>
          <a:ext cx="8929718" cy="176700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892971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8831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1 </a:t>
                      </a:r>
                      <a:r>
                        <a:rPr lang="ru-RU" sz="11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редприятие не знакомо с  особенностями образовательного процесса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8831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2.</a:t>
                      </a:r>
                      <a:r>
                        <a:rPr lang="ru-RU" sz="11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Отсутствие конкретных рекомендаций по разработке учебного плана ОПОП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8831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3.</a:t>
                      </a:r>
                      <a:r>
                        <a:rPr lang="ru-RU" sz="11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Сложная структура механизма согласования требований работодателем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18378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4. Конкретизация требований к структуре содержания ОПОП для работников предприятия</a:t>
                      </a:r>
                      <a:endParaRPr lang="ru-RU" sz="11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975" marR="53975" marT="0" marB="0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58024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5. Отсутствуют единые требования к оформлению рабочих программ</a:t>
                      </a:r>
                      <a:endParaRPr lang="ru-RU" sz="11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975" marR="53975" marT="0" marB="0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58024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 pitchFamily="18" charset="0"/>
                          <a:ea typeface="Times New Roman"/>
                          <a:cs typeface="Times New Roman" pitchFamily="18" charset="0"/>
                        </a:rPr>
                        <a:t>6.Большая педагогическая нагрузка преподавателей</a:t>
                      </a:r>
                      <a:endParaRPr lang="ru-RU" sz="1100" b="1" dirty="0"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53975" marR="53975" marT="0" marB="0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39659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7.Значительные потери времени на согласование документов</a:t>
                      </a:r>
                      <a:endParaRPr lang="ru-RU" sz="11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61" name="Прямоугольник 60"/>
          <p:cNvSpPr/>
          <p:nvPr/>
        </p:nvSpPr>
        <p:spPr>
          <a:xfrm>
            <a:off x="142875" y="1501631"/>
            <a:ext cx="231794" cy="1373335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8855968" y="3071810"/>
            <a:ext cx="288032" cy="1512168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15406" name="Прямоугольник 54"/>
          <p:cNvSpPr>
            <a:spLocks noChangeArrowheads="1"/>
          </p:cNvSpPr>
          <p:nvPr/>
        </p:nvSpPr>
        <p:spPr bwMode="auto">
          <a:xfrm>
            <a:off x="5500694" y="4786322"/>
            <a:ext cx="3457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Ы:</a:t>
            </a:r>
          </a:p>
        </p:txBody>
      </p:sp>
      <p:sp>
        <p:nvSpPr>
          <p:cNvPr id="70" name="Пятно 1 60"/>
          <p:cNvSpPr/>
          <p:nvPr/>
        </p:nvSpPr>
        <p:spPr>
          <a:xfrm>
            <a:off x="2143108" y="1214422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84" name="Пятно 1 60"/>
          <p:cNvSpPr/>
          <p:nvPr/>
        </p:nvSpPr>
        <p:spPr>
          <a:xfrm>
            <a:off x="6643702" y="3000372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97" name="Пятно 1 60"/>
          <p:cNvSpPr/>
          <p:nvPr/>
        </p:nvSpPr>
        <p:spPr>
          <a:xfrm>
            <a:off x="2357422" y="3000372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  <a:p>
            <a:pPr algn="ctr">
              <a:defRPr/>
            </a:pP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02" name="Пятно 1 60"/>
          <p:cNvSpPr/>
          <p:nvPr/>
        </p:nvSpPr>
        <p:spPr>
          <a:xfrm>
            <a:off x="6307471" y="1122217"/>
            <a:ext cx="644525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104" name="Пятно 1 60"/>
          <p:cNvSpPr/>
          <p:nvPr/>
        </p:nvSpPr>
        <p:spPr>
          <a:xfrm>
            <a:off x="4286248" y="300037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514" y="35718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9" name="Прямоугольник 5"/>
          <p:cNvSpPr>
            <a:spLocks noChangeArrowheads="1"/>
          </p:cNvSpPr>
          <p:nvPr/>
        </p:nvSpPr>
        <p:spPr bwMode="auto">
          <a:xfrm>
            <a:off x="197767" y="465221"/>
            <a:ext cx="889362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latin typeface="Times New Roman" pitchFamily="18" charset="0"/>
                <a:cs typeface="Times New Roman" pitchFamily="18" charset="0"/>
              </a:rPr>
              <a:t>Карта текущего состояния процесса  ГБПОУ «ЮУМК»</a:t>
            </a:r>
          </a:p>
        </p:txBody>
      </p:sp>
      <p:graphicFrame>
        <p:nvGraphicFramePr>
          <p:cNvPr id="99" name="Таблица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9325770"/>
              </p:ext>
            </p:extLst>
          </p:nvPr>
        </p:nvGraphicFramePr>
        <p:xfrm>
          <a:off x="2740598" y="1603534"/>
          <a:ext cx="1751856" cy="1400086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Анализ</a:t>
                      </a:r>
                      <a:r>
                        <a:rPr lang="ru-RU" sz="1100" b="1" kern="1200" baseline="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требований ФГОС и Профессионального стандарта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1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0" name="Таблица 9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3046959"/>
              </p:ext>
            </p:extLst>
          </p:nvPr>
        </p:nvGraphicFramePr>
        <p:xfrm>
          <a:off x="4913967" y="1395396"/>
          <a:ext cx="1646186" cy="1840444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64618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06906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01018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пределение несоответствия компетенции </a:t>
                      </a:r>
                      <a:r>
                        <a:rPr lang="ru-RU" sz="11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ыпускника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 требованиями </a:t>
                      </a:r>
                      <a:r>
                        <a:rPr lang="ru-RU" sz="11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аботодателя</a:t>
                      </a: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16444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1" name="Таблица 10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733994"/>
              </p:ext>
            </p:extLst>
          </p:nvPr>
        </p:nvGraphicFramePr>
        <p:xfrm>
          <a:off x="6985306" y="1643238"/>
          <a:ext cx="1751856" cy="1283272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45186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оздание рабочей группы</a:t>
                      </a: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3" name="Таблица 10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968495"/>
              </p:ext>
            </p:extLst>
          </p:nvPr>
        </p:nvGraphicFramePr>
        <p:xfrm>
          <a:off x="411154" y="3419947"/>
          <a:ext cx="1751856" cy="1400086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пределение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требований работодателя к ПК выпускника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1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5" name="Таблица 10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3145070"/>
              </p:ext>
            </p:extLst>
          </p:nvPr>
        </p:nvGraphicFramePr>
        <p:xfrm>
          <a:off x="2748706" y="3424705"/>
          <a:ext cx="1751856" cy="1134893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несение изменений в ОПОП</a:t>
                      </a: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4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6" name="Таблица 10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9241735"/>
              </p:ext>
            </p:extLst>
          </p:nvPr>
        </p:nvGraphicFramePr>
        <p:xfrm>
          <a:off x="4921575" y="3501007"/>
          <a:ext cx="1751856" cy="1117493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00177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огласование ОПОП с работодателем</a:t>
                      </a: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1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7" name="Таблица 10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5389917"/>
              </p:ext>
            </p:extLst>
          </p:nvPr>
        </p:nvGraphicFramePr>
        <p:xfrm>
          <a:off x="6985306" y="3442105"/>
          <a:ext cx="1751856" cy="1117493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766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недрение ОПОП</a:t>
                      </a: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0" name="Прямоугольник 109"/>
          <p:cNvSpPr/>
          <p:nvPr/>
        </p:nvSpPr>
        <p:spPr>
          <a:xfrm>
            <a:off x="3275856" y="1122217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111" name="Прямоугольник 110"/>
          <p:cNvSpPr/>
          <p:nvPr/>
        </p:nvSpPr>
        <p:spPr>
          <a:xfrm>
            <a:off x="5469036" y="1104697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/>
              <a:t> </a:t>
            </a:r>
          </a:p>
        </p:txBody>
      </p:sp>
      <p:sp>
        <p:nvSpPr>
          <p:cNvPr id="112" name="Прямоугольник 111"/>
          <p:cNvSpPr/>
          <p:nvPr/>
        </p:nvSpPr>
        <p:spPr>
          <a:xfrm>
            <a:off x="7520770" y="1134413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4</a:t>
            </a:r>
            <a:r>
              <a:rPr lang="ru-RU" sz="1200" b="1" dirty="0"/>
              <a:t> </a:t>
            </a:r>
          </a:p>
        </p:txBody>
      </p:sp>
      <p:sp>
        <p:nvSpPr>
          <p:cNvPr id="113" name="Прямоугольник 112"/>
          <p:cNvSpPr/>
          <p:nvPr/>
        </p:nvSpPr>
        <p:spPr>
          <a:xfrm>
            <a:off x="1041565" y="2996952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5</a:t>
            </a:r>
            <a:r>
              <a:rPr lang="ru-RU" sz="1200" b="1" dirty="0"/>
              <a:t> 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3275856" y="3001322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6</a:t>
            </a:r>
            <a:r>
              <a:rPr lang="ru-RU" sz="1200" b="1" dirty="0"/>
              <a:t> </a:t>
            </a:r>
          </a:p>
        </p:txBody>
      </p:sp>
      <p:sp>
        <p:nvSpPr>
          <p:cNvPr id="115" name="Прямоугольник 114"/>
          <p:cNvSpPr/>
          <p:nvPr/>
        </p:nvSpPr>
        <p:spPr>
          <a:xfrm>
            <a:off x="5488779" y="3181503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7</a:t>
            </a:r>
            <a:r>
              <a:rPr lang="ru-RU" sz="1200" b="1" dirty="0"/>
              <a:t> </a:t>
            </a:r>
          </a:p>
        </p:txBody>
      </p:sp>
      <p:sp>
        <p:nvSpPr>
          <p:cNvPr id="116" name="Прямоугольник 115"/>
          <p:cNvSpPr/>
          <p:nvPr/>
        </p:nvSpPr>
        <p:spPr>
          <a:xfrm>
            <a:off x="7520770" y="2996952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8</a:t>
            </a:r>
            <a:r>
              <a:rPr lang="ru-RU" sz="1200" b="1" dirty="0"/>
              <a:t> </a:t>
            </a:r>
          </a:p>
        </p:txBody>
      </p:sp>
      <p:sp>
        <p:nvSpPr>
          <p:cNvPr id="119" name="Стрелка вправо 118"/>
          <p:cNvSpPr/>
          <p:nvPr/>
        </p:nvSpPr>
        <p:spPr>
          <a:xfrm>
            <a:off x="4548528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0" name="Стрелка вправо 119"/>
          <p:cNvSpPr/>
          <p:nvPr/>
        </p:nvSpPr>
        <p:spPr>
          <a:xfrm>
            <a:off x="6679001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1" name="Стрелка вправо 120"/>
          <p:cNvSpPr/>
          <p:nvPr/>
        </p:nvSpPr>
        <p:spPr>
          <a:xfrm>
            <a:off x="2345023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2" name="Стрелка вправо 121"/>
          <p:cNvSpPr/>
          <p:nvPr/>
        </p:nvSpPr>
        <p:spPr>
          <a:xfrm>
            <a:off x="4572000" y="3929066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3" name="Стрелка вправо 122"/>
          <p:cNvSpPr/>
          <p:nvPr/>
        </p:nvSpPr>
        <p:spPr>
          <a:xfrm>
            <a:off x="6679001" y="3906738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4" name="Пятно 1 60"/>
          <p:cNvSpPr/>
          <p:nvPr/>
        </p:nvSpPr>
        <p:spPr>
          <a:xfrm>
            <a:off x="8286776" y="1142984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6</a:t>
            </a:r>
          </a:p>
        </p:txBody>
      </p:sp>
      <p:sp>
        <p:nvSpPr>
          <p:cNvPr id="45" name="Пятно 1 60"/>
          <p:cNvSpPr/>
          <p:nvPr/>
        </p:nvSpPr>
        <p:spPr>
          <a:xfrm>
            <a:off x="6429388" y="3429000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7</a:t>
            </a:r>
          </a:p>
        </p:txBody>
      </p:sp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80396875"/>
              </p:ext>
            </p:extLst>
          </p:nvPr>
        </p:nvGraphicFramePr>
        <p:xfrm>
          <a:off x="214283" y="1142985"/>
          <a:ext cx="8715437" cy="48783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7354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72718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21471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647449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017035">
                <a:tc>
                  <a:txBody>
                    <a:bodyPr/>
                    <a:lstStyle/>
                    <a:p>
                      <a:pPr algn="just"/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приятие не знакомо с  особенностями образовательного процесса. Противоречия в требованиях к специалистам ПАО «ЧМК»и уровнем компетентности выпускника ГБПОУ «ЮУМК»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приятие не знакомо с учетными</a:t>
                      </a:r>
                      <a:r>
                        <a:rPr lang="ru-RU" sz="12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окументами образовательного учреждения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Учет требования работодателя к образовательной программе и их взаимодействие 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97270">
                <a:tc>
                  <a:txBody>
                    <a:bodyPr/>
                    <a:lstStyle/>
                    <a:p>
                      <a:pPr algn="just"/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конкретных рекомендаций по разработке учебного плана ОПОП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заблаговременное</a:t>
                      </a:r>
                      <a:r>
                        <a:rPr lang="ru-RU" sz="12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нформирование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модели ОПОП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algn="just"/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ложная структура механизма согласования требований работодателем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ботодатель не владеет ОПОП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окращение времени согласования ОПОП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48072">
                <a:tc>
                  <a:txBody>
                    <a:bodyPr/>
                    <a:lstStyle/>
                    <a:p>
                      <a:pPr algn="just"/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онкретизация требований к структуре содержания ОПОП для работников предприятия.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1200" dirty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аботники предприятия не ориентируются в структуре и содержании ОПОП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анный алгоритм для подбора кандидатур - наставников  предприятия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20608">
                <a:tc>
                  <a:txBody>
                    <a:bodyPr/>
                    <a:lstStyle/>
                    <a:p>
                      <a:pPr algn="just"/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уют единые требования к оформлению рабочих программ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заблаговременное</a:t>
                      </a:r>
                      <a:r>
                        <a:rPr lang="ru-RU" sz="12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нформирование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макетов рабочей программы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33386">
                <a:tc>
                  <a:txBody>
                    <a:bodyPr/>
                    <a:lstStyle/>
                    <a:p>
                      <a:pPr algn="just"/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Большая педагогическая нагрузка преподавателей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груженность</a:t>
                      </a:r>
                      <a:r>
                        <a:rPr lang="ru-RU" sz="12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методической службы и председателей ЦМК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елегирование части практической подготовки студентов на наставников предприятия. 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658260">
                <a:tc>
                  <a:txBody>
                    <a:bodyPr/>
                    <a:lstStyle/>
                    <a:p>
                      <a:pPr algn="just"/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начительные потери времени на согласование документов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ует четкий алгоритм ,несоблюдение сроков подписания документов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птимизированный маршрут взаимодействия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7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857356" y="642918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3076" y="666708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</p:spTree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8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2868918515"/>
              </p:ext>
            </p:extLst>
          </p:nvPr>
        </p:nvGraphicFramePr>
        <p:xfrm>
          <a:off x="123844" y="959978"/>
          <a:ext cx="4500593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834933" y="1500188"/>
            <a:ext cx="3769515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шение проблем на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едеральном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ровне не требуется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834933" y="2554864"/>
            <a:ext cx="3746698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шение проблем на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гиональном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ровне не требуется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429124" y="3573016"/>
            <a:ext cx="4714876" cy="2729236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28600" indent="-228600" algn="just">
              <a:defRPr/>
            </a:pPr>
            <a:r>
              <a:rPr lang="ru-RU" sz="1100" dirty="0">
                <a:solidFill>
                  <a:schemeClr val="dk1"/>
                </a:solidFill>
              </a:rPr>
              <a:t>1</a:t>
            </a:r>
            <a:r>
              <a:rPr lang="ru-RU" sz="1200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Предприятие не знакомо с образовательным процессом.</a:t>
            </a:r>
          </a:p>
          <a:p>
            <a:pPr marL="228600" indent="-228600" algn="just">
              <a:defRPr/>
            </a:pPr>
            <a:r>
              <a:rPr lang="ru-RU" sz="1200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тиворечия в требованиях специалистам ПАО «</a:t>
            </a:r>
            <a:r>
              <a:rPr lang="ru-RU" sz="1200" dirty="0" err="1" smtClean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МК»и</a:t>
            </a:r>
            <a:endParaRPr lang="ru-RU" sz="1200" dirty="0">
              <a:solidFill>
                <a:schemeClr val="dk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algn="just">
              <a:defRPr/>
            </a:pPr>
            <a:r>
              <a:rPr lang="ru-RU" sz="1200" dirty="0" smtClean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ровнем </a:t>
            </a:r>
            <a:r>
              <a:rPr lang="ru-RU" sz="1200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мпетентности выпускника ГБПОУ «ЮУМК»</a:t>
            </a:r>
          </a:p>
          <a:p>
            <a:pPr indent="-228600" algn="just">
              <a:defRPr/>
            </a:pPr>
            <a:r>
              <a:rPr lang="ru-RU" alt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</a:t>
            </a:r>
            <a:r>
              <a:rPr lang="ru-RU" sz="1200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чётких рекомендаций по разработке учебного плана </a:t>
            </a:r>
            <a:r>
              <a:rPr lang="ru-RU" sz="1200" dirty="0" smtClean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ОП</a:t>
            </a:r>
          </a:p>
          <a:p>
            <a:pPr indent="-228600" algn="just">
              <a:defRPr/>
            </a:pPr>
            <a:r>
              <a:rPr lang="ru-RU" sz="1200" dirty="0" smtClean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Сложная </a:t>
            </a:r>
            <a:r>
              <a:rPr lang="ru-RU" sz="1200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а механизма согласования требований </a:t>
            </a:r>
            <a:r>
              <a:rPr lang="ru-RU" sz="1200" dirty="0" smtClean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тодателем</a:t>
            </a:r>
          </a:p>
          <a:p>
            <a:pPr indent="-228600" algn="just">
              <a:defRPr/>
            </a:pPr>
            <a:r>
              <a:rPr lang="ru-RU" sz="1200" dirty="0" smtClean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Замечания </a:t>
            </a:r>
            <a:r>
              <a:rPr lang="ru-RU" sz="1200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рмулируются в общем виде без конкретизации. </a:t>
            </a:r>
          </a:p>
          <a:p>
            <a:pPr marL="228600" indent="-228600" algn="just">
              <a:defRPr/>
            </a:pPr>
            <a:r>
              <a:rPr lang="ru-RU" alt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.</a:t>
            </a:r>
            <a:r>
              <a:rPr lang="ru-RU" sz="1200" dirty="0" smtClean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уют </a:t>
            </a:r>
            <a:r>
              <a:rPr lang="ru-RU" sz="1200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диные требования к оформлению рабочих </a:t>
            </a:r>
            <a:r>
              <a:rPr lang="ru-RU" sz="1200" dirty="0" smtClean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</a:t>
            </a:r>
          </a:p>
          <a:p>
            <a:pPr marL="228600" indent="-228600" algn="just">
              <a:defRPr/>
            </a:pPr>
            <a:r>
              <a:rPr lang="ru-RU" sz="1200" dirty="0" smtClean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. Большая </a:t>
            </a:r>
            <a:r>
              <a:rPr lang="ru-RU" sz="1200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дагогическая нагрузка </a:t>
            </a:r>
            <a:r>
              <a:rPr lang="ru-RU" sz="1200" dirty="0" smtClean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подавателей</a:t>
            </a:r>
          </a:p>
          <a:p>
            <a:pPr marL="228600" indent="-228600" algn="just">
              <a:defRPr/>
            </a:pPr>
            <a:r>
              <a:rPr lang="ru-RU" sz="1200" dirty="0" smtClean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. Значительные </a:t>
            </a:r>
            <a:r>
              <a:rPr lang="ru-RU" sz="1200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тери времени на согласование документов</a:t>
            </a:r>
            <a:endParaRPr lang="ru-RU" alt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>
              <a:defRPr/>
            </a:pPr>
            <a:endParaRPr lang="ru-RU" altLang="ru-RU"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ятно 1 60"/>
          <p:cNvSpPr/>
          <p:nvPr/>
        </p:nvSpPr>
        <p:spPr>
          <a:xfrm>
            <a:off x="886407" y="5470304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1749974" y="5507920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2707062" y="5543559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5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458318" y="797801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1202537" y="475298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21" name="Пятно 1 60"/>
          <p:cNvSpPr/>
          <p:nvPr/>
        </p:nvSpPr>
        <p:spPr>
          <a:xfrm>
            <a:off x="2927341" y="4659711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22" name="Пятно 1 60"/>
          <p:cNvSpPr/>
          <p:nvPr/>
        </p:nvSpPr>
        <p:spPr>
          <a:xfrm>
            <a:off x="2071670" y="4500570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6</a:t>
            </a:r>
          </a:p>
        </p:txBody>
      </p:sp>
      <p:sp>
        <p:nvSpPr>
          <p:cNvPr id="23" name="Пятно 1 60"/>
          <p:cNvSpPr/>
          <p:nvPr/>
        </p:nvSpPr>
        <p:spPr>
          <a:xfrm>
            <a:off x="3355177" y="5257807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7</a:t>
            </a:r>
          </a:p>
        </p:txBody>
      </p:sp>
    </p:spTree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0970D5C5-FB1B-4607-B94D-242D9579A688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9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8446" name="TextBox 48"/>
          <p:cNvSpPr txBox="1">
            <a:spLocks noChangeArrowheads="1"/>
          </p:cNvSpPr>
          <p:nvPr/>
        </p:nvSpPr>
        <p:spPr bwMode="auto">
          <a:xfrm>
            <a:off x="0" y="6429396"/>
            <a:ext cx="471487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емя протекания процесса – </a:t>
            </a:r>
            <a:r>
              <a:rPr lang="ru-RU" sz="16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8 </a:t>
            </a:r>
            <a:r>
              <a: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ней</a:t>
            </a:r>
            <a:r>
              <a:rPr lang="ru-RU" sz="1600" b="1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7570116" y="3357562"/>
            <a:ext cx="288032" cy="1512168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95" name="Прямоугольник 94"/>
          <p:cNvSpPr/>
          <p:nvPr/>
        </p:nvSpPr>
        <p:spPr>
          <a:xfrm>
            <a:off x="188245" y="1714488"/>
            <a:ext cx="251520" cy="1224136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pic>
        <p:nvPicPr>
          <p:cNvPr id="25" name="Picture 3" descr="C:\Users\Администратор\Desktop\Coat_of_arms_of_Chelyabinsk_Oblast.svg.png">
            <a:extLst>
              <a:ext uri="{FF2B5EF4-FFF2-40B4-BE49-F238E27FC236}">
                <a16:creationId xmlns=""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Прямоугольник 5"/>
          <p:cNvSpPr>
            <a:spLocks noChangeArrowheads="1"/>
          </p:cNvSpPr>
          <p:nvPr/>
        </p:nvSpPr>
        <p:spPr bwMode="auto">
          <a:xfrm>
            <a:off x="0" y="714356"/>
            <a:ext cx="889362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 Карта целевого состояния процесса</a:t>
            </a:r>
            <a:r>
              <a:rPr lang="ru-RU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ГБПОУ «»ЮУМК</a:t>
            </a:r>
          </a:p>
        </p:txBody>
      </p:sp>
      <p:graphicFrame>
        <p:nvGraphicFramePr>
          <p:cNvPr id="30" name="Таблица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9526540"/>
              </p:ext>
            </p:extLst>
          </p:nvPr>
        </p:nvGraphicFramePr>
        <p:xfrm>
          <a:off x="578941" y="1714488"/>
          <a:ext cx="1751856" cy="1232446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частник процесса</a:t>
                      </a: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АО «ЧМК»</a:t>
                      </a:r>
                      <a:br>
                        <a:rPr lang="ru-RU" sz="11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</a:br>
                      <a:r>
                        <a:rPr lang="ru-RU" sz="11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ЮУМК ТТК (команда проекта)</a:t>
                      </a: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1043608" y="1285860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32" name="Стрелка вправо 31"/>
          <p:cNvSpPr/>
          <p:nvPr/>
        </p:nvSpPr>
        <p:spPr>
          <a:xfrm>
            <a:off x="2397976" y="2214554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aphicFrame>
        <p:nvGraphicFramePr>
          <p:cNvPr id="33" name="Таблица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0657480"/>
              </p:ext>
            </p:extLst>
          </p:nvPr>
        </p:nvGraphicFramePr>
        <p:xfrm>
          <a:off x="2824550" y="1643050"/>
          <a:ext cx="1751856" cy="1479054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4385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81995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азработка образовательной программы под четкий заказ производства</a:t>
                      </a: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90334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4" name="Таблица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8696532"/>
              </p:ext>
            </p:extLst>
          </p:nvPr>
        </p:nvGraphicFramePr>
        <p:xfrm>
          <a:off x="5076056" y="1643050"/>
          <a:ext cx="1751856" cy="1400086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азработка ОПОП согласно методических рекомендаций</a:t>
                      </a:r>
                      <a:endParaRPr lang="ru-RU" sz="11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5" name="Таблица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9116840"/>
              </p:ext>
            </p:extLst>
          </p:nvPr>
        </p:nvGraphicFramePr>
        <p:xfrm>
          <a:off x="7215206" y="1643050"/>
          <a:ext cx="1751856" cy="1567726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Назначение ответственного лица, прошедшего обучение и принимающего решения</a:t>
                      </a:r>
                      <a:endParaRPr lang="ru-RU" sz="11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2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6" name="Таблица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3997303"/>
              </p:ext>
            </p:extLst>
          </p:nvPr>
        </p:nvGraphicFramePr>
        <p:xfrm>
          <a:off x="428596" y="3500438"/>
          <a:ext cx="1751856" cy="1232446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азработка макета рабочей программы</a:t>
                      </a:r>
                      <a:endParaRPr lang="ru-RU" sz="11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7" name="Стрелка вправо 36"/>
          <p:cNvSpPr/>
          <p:nvPr/>
        </p:nvSpPr>
        <p:spPr>
          <a:xfrm>
            <a:off x="4644008" y="2285992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8" name="Стрелка вправо 37"/>
          <p:cNvSpPr/>
          <p:nvPr/>
        </p:nvSpPr>
        <p:spPr>
          <a:xfrm>
            <a:off x="6876256" y="2357430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9" name="Стрелка вправо 38"/>
          <p:cNvSpPr/>
          <p:nvPr/>
        </p:nvSpPr>
        <p:spPr>
          <a:xfrm>
            <a:off x="0" y="4071942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Стрелка вправо 39"/>
          <p:cNvSpPr/>
          <p:nvPr/>
        </p:nvSpPr>
        <p:spPr>
          <a:xfrm>
            <a:off x="2214546" y="4286256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1" name="Прямоугольник 40"/>
          <p:cNvSpPr/>
          <p:nvPr/>
        </p:nvSpPr>
        <p:spPr>
          <a:xfrm>
            <a:off x="3362200" y="1285860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5652120" y="1285860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/>
              <a:t> 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7858148" y="1285860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4</a:t>
            </a:r>
            <a:r>
              <a:rPr lang="ru-RU" sz="1200" b="1" dirty="0"/>
              <a:t> 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142976" y="3071810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5</a:t>
            </a:r>
            <a:r>
              <a:rPr lang="ru-RU" sz="1200" b="1" dirty="0"/>
              <a:t> </a:t>
            </a:r>
          </a:p>
        </p:txBody>
      </p:sp>
      <p:sp>
        <p:nvSpPr>
          <p:cNvPr id="45" name="Облако 44">
            <a:extLst>
              <a:ext uri="{FF2B5EF4-FFF2-40B4-BE49-F238E27FC236}">
                <a16:creationId xmlns=""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2057606" y="1714488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1</a:t>
            </a:r>
          </a:p>
        </p:txBody>
      </p:sp>
      <p:sp>
        <p:nvSpPr>
          <p:cNvPr id="46" name="Облако 45">
            <a:extLst>
              <a:ext uri="{FF2B5EF4-FFF2-40B4-BE49-F238E27FC236}">
                <a16:creationId xmlns="" xmlns:a16="http://schemas.microsoft.com/office/drawing/2014/main" id="{E460C5E6-5047-4C75-8C7B-4DE90D77B07D}"/>
              </a:ext>
            </a:extLst>
          </p:cNvPr>
          <p:cNvSpPr/>
          <p:nvPr/>
        </p:nvSpPr>
        <p:spPr>
          <a:xfrm>
            <a:off x="3929058" y="1643050"/>
            <a:ext cx="674770" cy="318720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2</a:t>
            </a:r>
          </a:p>
        </p:txBody>
      </p:sp>
      <p:sp>
        <p:nvSpPr>
          <p:cNvPr id="47" name="Облако 46">
            <a:extLst>
              <a:ext uri="{FF2B5EF4-FFF2-40B4-BE49-F238E27FC236}">
                <a16:creationId xmlns="" xmlns:a16="http://schemas.microsoft.com/office/drawing/2014/main" id="{7710A555-C240-441B-877A-74BA51DF6CA7}"/>
              </a:ext>
            </a:extLst>
          </p:cNvPr>
          <p:cNvSpPr/>
          <p:nvPr/>
        </p:nvSpPr>
        <p:spPr>
          <a:xfrm>
            <a:off x="8512065" y="1643050"/>
            <a:ext cx="631935" cy="351615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8BFCFCEC-6A8A-4879-960C-08B3AEDF6CD5}"/>
              </a:ext>
            </a:extLst>
          </p:cNvPr>
          <p:cNvSpPr txBox="1"/>
          <p:nvPr/>
        </p:nvSpPr>
        <p:spPr>
          <a:xfrm>
            <a:off x="5928090" y="4941168"/>
            <a:ext cx="31602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Предложения по улучшению</a:t>
            </a:r>
          </a:p>
        </p:txBody>
      </p:sp>
      <p:graphicFrame>
        <p:nvGraphicFramePr>
          <p:cNvPr id="51" name="Таблица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8335212"/>
              </p:ext>
            </p:extLst>
          </p:nvPr>
        </p:nvGraphicFramePr>
        <p:xfrm>
          <a:off x="395536" y="5000636"/>
          <a:ext cx="8034116" cy="130151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803411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3270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1. Создание рабочей группы по разработке модели выпускника</a:t>
                      </a: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6521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2. Учет</a:t>
                      </a:r>
                      <a:r>
                        <a:rPr lang="ru-RU" altLang="ru-RU" sz="1100" b="1" baseline="0" dirty="0">
                          <a:latin typeface="Times New Roman" pitchFamily="18" charset="0"/>
                          <a:cs typeface="Times New Roman" pitchFamily="18" charset="0"/>
                        </a:rPr>
                        <a:t> требований работодателя к ОПОП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3270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3.</a:t>
                      </a:r>
                      <a:r>
                        <a:rPr lang="ru-RU" altLang="ru-RU" sz="1100" b="1" baseline="0" dirty="0">
                          <a:latin typeface="Times New Roman" pitchFamily="18" charset="0"/>
                          <a:cs typeface="Times New Roman" pitchFamily="18" charset="0"/>
                        </a:rPr>
                        <a:t> Подбор кандидатур наставника с предприятия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3270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4. Закрепление наставников за мастерами и преподавателями колледжа</a:t>
                      </a: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3270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5. Разработка  модели оперативного обмена информацией</a:t>
                      </a: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2" name="Облако 51">
            <a:extLst>
              <a:ext uri="{FF2B5EF4-FFF2-40B4-BE49-F238E27FC236}">
                <a16:creationId xmlns="" xmlns:a16="http://schemas.microsoft.com/office/drawing/2014/main" id="{7710A555-C240-441B-877A-74BA51DF6CA7}"/>
              </a:ext>
            </a:extLst>
          </p:cNvPr>
          <p:cNvSpPr/>
          <p:nvPr/>
        </p:nvSpPr>
        <p:spPr>
          <a:xfrm>
            <a:off x="6876256" y="3493554"/>
            <a:ext cx="631935" cy="351615"/>
          </a:xfrm>
          <a:prstGeom prst="cloud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5</a:t>
            </a:r>
          </a:p>
        </p:txBody>
      </p:sp>
      <p:sp>
        <p:nvSpPr>
          <p:cNvPr id="53" name="Облако 52">
            <a:extLst>
              <a:ext uri="{FF2B5EF4-FFF2-40B4-BE49-F238E27FC236}">
                <a16:creationId xmlns=""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8452695" y="2907394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4</a:t>
            </a:r>
          </a:p>
        </p:txBody>
      </p:sp>
      <p:graphicFrame>
        <p:nvGraphicFramePr>
          <p:cNvPr id="48" name="Таблица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7326970"/>
              </p:ext>
            </p:extLst>
          </p:nvPr>
        </p:nvGraphicFramePr>
        <p:xfrm>
          <a:off x="2584888" y="3426103"/>
          <a:ext cx="1987112" cy="126492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98711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4677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5832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авномерное распределение учебной нагрузки между преподавателями</a:t>
                      </a:r>
                      <a:endParaRPr lang="ru-RU" sz="11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32263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49" name="Таблица 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4233877"/>
              </p:ext>
            </p:extLst>
          </p:nvPr>
        </p:nvGraphicFramePr>
        <p:xfrm>
          <a:off x="5000628" y="3429000"/>
          <a:ext cx="1857388" cy="1296144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85738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419356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облюдение времени на согласование ОПОП</a:t>
                      </a:r>
                      <a:endParaRPr lang="ru-RU" sz="11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82428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0" name="Прямоугольник 49"/>
          <p:cNvSpPr/>
          <p:nvPr/>
        </p:nvSpPr>
        <p:spPr>
          <a:xfrm>
            <a:off x="3323114" y="2997199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6</a:t>
            </a:r>
            <a:r>
              <a:rPr lang="ru-RU" sz="1200" b="1" dirty="0"/>
              <a:t> 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5581409" y="3056043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7</a:t>
            </a:r>
            <a:r>
              <a:rPr lang="ru-RU" sz="1200" b="1" dirty="0"/>
              <a:t> </a:t>
            </a:r>
          </a:p>
        </p:txBody>
      </p:sp>
      <p:sp>
        <p:nvSpPr>
          <p:cNvPr id="55" name="Стрелка вправо 54"/>
          <p:cNvSpPr/>
          <p:nvPr/>
        </p:nvSpPr>
        <p:spPr>
          <a:xfrm>
            <a:off x="4643438" y="4286256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966</TotalTime>
  <Words>877</Words>
  <Application>Microsoft Office PowerPoint</Application>
  <PresentationFormat>Экран (4:3)</PresentationFormat>
  <Paragraphs>237</Paragraphs>
  <Slides>11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3" baseType="lpstr">
      <vt:lpstr>Тема Office</vt:lpstr>
      <vt:lpstr>think-cell Slide</vt:lpstr>
      <vt:lpstr>Челябинская область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Челябинская область</vt:lpstr>
      <vt:lpstr>Презентация PowerPoint</vt:lpstr>
      <vt:lpstr>Презентация PowerPoint</vt:lpstr>
      <vt:lpstr>Презентация PowerPoint</vt:lpstr>
      <vt:lpstr>Результаты  в процессе оптимизации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Серикова Зинаида Сергеевна</cp:lastModifiedBy>
  <cp:revision>177</cp:revision>
  <cp:lastPrinted>2022-12-26T09:03:33Z</cp:lastPrinted>
  <dcterms:created xsi:type="dcterms:W3CDTF">2018-08-20T14:01:12Z</dcterms:created>
  <dcterms:modified xsi:type="dcterms:W3CDTF">2023-02-03T05:57:19Z</dcterms:modified>
</cp:coreProperties>
</file>